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Lst>
  <p:notesMasterIdLst>
    <p:notesMasterId r:id="rId31"/>
  </p:notesMasterIdLst>
  <p:handoutMasterIdLst>
    <p:handoutMasterId r:id="rId32"/>
  </p:handoutMasterIdLst>
  <p:sldIdLst>
    <p:sldId id="954" r:id="rId2"/>
    <p:sldId id="1067" r:id="rId3"/>
    <p:sldId id="1068" r:id="rId4"/>
    <p:sldId id="1070" r:id="rId5"/>
    <p:sldId id="1071" r:id="rId6"/>
    <p:sldId id="1066" r:id="rId7"/>
    <p:sldId id="1072" r:id="rId8"/>
    <p:sldId id="1011" r:id="rId9"/>
    <p:sldId id="1012" r:id="rId10"/>
    <p:sldId id="1049" r:id="rId11"/>
    <p:sldId id="1016" r:id="rId12"/>
    <p:sldId id="1017" r:id="rId13"/>
    <p:sldId id="1018" r:id="rId14"/>
    <p:sldId id="1019" r:id="rId15"/>
    <p:sldId id="1020" r:id="rId16"/>
    <p:sldId id="1062" r:id="rId17"/>
    <p:sldId id="1063" r:id="rId18"/>
    <p:sldId id="1060" r:id="rId19"/>
    <p:sldId id="1024" r:id="rId20"/>
    <p:sldId id="1025" r:id="rId21"/>
    <p:sldId id="1073" r:id="rId22"/>
    <p:sldId id="1074" r:id="rId23"/>
    <p:sldId id="1075" r:id="rId24"/>
    <p:sldId id="1076" r:id="rId25"/>
    <p:sldId id="1077" r:id="rId26"/>
    <p:sldId id="1058" r:id="rId27"/>
    <p:sldId id="1079" r:id="rId28"/>
    <p:sldId id="1078" r:id="rId29"/>
    <p:sldId id="1064" r:id="rId30"/>
  </p:sldIdLst>
  <p:sldSz cx="9144000" cy="5143500" type="screen16x9"/>
  <p:notesSz cx="6797675" cy="9926638"/>
  <p:custDataLst>
    <p:tags r:id="rId33"/>
  </p:custDataLst>
  <p:defaultTextStyle>
    <a:defPPr>
      <a:defRPr lang="de-DE"/>
    </a:defPPr>
    <a:lvl1pPr marL="0" algn="l" defTabSz="779074" rtl="0" eaLnBrk="1" latinLnBrk="0" hangingPunct="1">
      <a:defRPr sz="1500" kern="1200">
        <a:solidFill>
          <a:schemeClr val="tx1"/>
        </a:solidFill>
        <a:latin typeface="+mn-lt"/>
        <a:ea typeface="+mn-ea"/>
        <a:cs typeface="+mn-cs"/>
      </a:defRPr>
    </a:lvl1pPr>
    <a:lvl2pPr marL="389538" algn="l" defTabSz="779074" rtl="0" eaLnBrk="1" latinLnBrk="0" hangingPunct="1">
      <a:defRPr sz="1500" kern="1200">
        <a:solidFill>
          <a:schemeClr val="tx1"/>
        </a:solidFill>
        <a:latin typeface="+mn-lt"/>
        <a:ea typeface="+mn-ea"/>
        <a:cs typeface="+mn-cs"/>
      </a:defRPr>
    </a:lvl2pPr>
    <a:lvl3pPr marL="779074" algn="l" defTabSz="779074" rtl="0" eaLnBrk="1" latinLnBrk="0" hangingPunct="1">
      <a:defRPr sz="1500" kern="1200">
        <a:solidFill>
          <a:schemeClr val="tx1"/>
        </a:solidFill>
        <a:latin typeface="+mn-lt"/>
        <a:ea typeface="+mn-ea"/>
        <a:cs typeface="+mn-cs"/>
      </a:defRPr>
    </a:lvl3pPr>
    <a:lvl4pPr marL="1168612" algn="l" defTabSz="779074" rtl="0" eaLnBrk="1" latinLnBrk="0" hangingPunct="1">
      <a:defRPr sz="1500" kern="1200">
        <a:solidFill>
          <a:schemeClr val="tx1"/>
        </a:solidFill>
        <a:latin typeface="+mn-lt"/>
        <a:ea typeface="+mn-ea"/>
        <a:cs typeface="+mn-cs"/>
      </a:defRPr>
    </a:lvl4pPr>
    <a:lvl5pPr marL="1558149" algn="l" defTabSz="779074" rtl="0" eaLnBrk="1" latinLnBrk="0" hangingPunct="1">
      <a:defRPr sz="1500" kern="1200">
        <a:solidFill>
          <a:schemeClr val="tx1"/>
        </a:solidFill>
        <a:latin typeface="+mn-lt"/>
        <a:ea typeface="+mn-ea"/>
        <a:cs typeface="+mn-cs"/>
      </a:defRPr>
    </a:lvl5pPr>
    <a:lvl6pPr marL="1947686" algn="l" defTabSz="779074" rtl="0" eaLnBrk="1" latinLnBrk="0" hangingPunct="1">
      <a:defRPr sz="1500" kern="1200">
        <a:solidFill>
          <a:schemeClr val="tx1"/>
        </a:solidFill>
        <a:latin typeface="+mn-lt"/>
        <a:ea typeface="+mn-ea"/>
        <a:cs typeface="+mn-cs"/>
      </a:defRPr>
    </a:lvl6pPr>
    <a:lvl7pPr marL="2337223" algn="l" defTabSz="779074" rtl="0" eaLnBrk="1" latinLnBrk="0" hangingPunct="1">
      <a:defRPr sz="1500" kern="1200">
        <a:solidFill>
          <a:schemeClr val="tx1"/>
        </a:solidFill>
        <a:latin typeface="+mn-lt"/>
        <a:ea typeface="+mn-ea"/>
        <a:cs typeface="+mn-cs"/>
      </a:defRPr>
    </a:lvl7pPr>
    <a:lvl8pPr marL="2726760" algn="l" defTabSz="779074" rtl="0" eaLnBrk="1" latinLnBrk="0" hangingPunct="1">
      <a:defRPr sz="1500" kern="1200">
        <a:solidFill>
          <a:schemeClr val="tx1"/>
        </a:solidFill>
        <a:latin typeface="+mn-lt"/>
        <a:ea typeface="+mn-ea"/>
        <a:cs typeface="+mn-cs"/>
      </a:defRPr>
    </a:lvl8pPr>
    <a:lvl9pPr marL="3116298" algn="l" defTabSz="779074" rtl="0" eaLnBrk="1" latinLnBrk="0" hangingPunct="1">
      <a:defRPr sz="15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19">
          <p15:clr>
            <a:srgbClr val="A4A3A4"/>
          </p15:clr>
        </p15:guide>
        <p15:guide id="2" orient="horz" pos="482">
          <p15:clr>
            <a:srgbClr val="A4A3A4"/>
          </p15:clr>
        </p15:guide>
        <p15:guide id="3" orient="horz" pos="2160">
          <p15:clr>
            <a:srgbClr val="A4A3A4"/>
          </p15:clr>
        </p15:guide>
        <p15:guide id="4" orient="horz" pos="536">
          <p15:clr>
            <a:srgbClr val="A4A3A4"/>
          </p15:clr>
        </p15:guide>
        <p15:guide id="5" orient="horz" pos="1043">
          <p15:clr>
            <a:srgbClr val="A4A3A4"/>
          </p15:clr>
        </p15:guide>
        <p15:guide id="6" pos="3120">
          <p15:clr>
            <a:srgbClr val="A4A3A4"/>
          </p15:clr>
        </p15:guide>
        <p15:guide id="7" pos="126">
          <p15:clr>
            <a:srgbClr val="A4A3A4"/>
          </p15:clr>
        </p15:guide>
        <p15:guide id="8" pos="6113">
          <p15:clr>
            <a:srgbClr val="A4A3A4"/>
          </p15:clr>
        </p15:guide>
        <p15:guide id="9" pos="6125">
          <p15:clr>
            <a:srgbClr val="A4A3A4"/>
          </p15:clr>
        </p15:guide>
        <p15:guide id="10" orient="horz" pos="2568">
          <p15:clr>
            <a:srgbClr val="A4A3A4"/>
          </p15:clr>
        </p15:guide>
        <p15:guide id="11" orient="horz" pos="1888">
          <p15:clr>
            <a:srgbClr val="A4A3A4"/>
          </p15:clr>
        </p15:guide>
        <p15:guide id="12" orient="horz" pos="3067">
          <p15:clr>
            <a:srgbClr val="A4A3A4"/>
          </p15:clr>
        </p15:guide>
        <p15:guide id="13" pos="4027">
          <p15:clr>
            <a:srgbClr val="A4A3A4"/>
          </p15:clr>
        </p15:guide>
        <p15:guide id="14" pos="6114">
          <p15:clr>
            <a:srgbClr val="A4A3A4"/>
          </p15:clr>
        </p15:guide>
        <p15:guide id="15" orient="horz" pos="89">
          <p15:clr>
            <a:srgbClr val="A4A3A4"/>
          </p15:clr>
        </p15:guide>
        <p15:guide id="16" orient="horz" pos="362">
          <p15:clr>
            <a:srgbClr val="A4A3A4"/>
          </p15:clr>
        </p15:guide>
        <p15:guide id="17" orient="horz" pos="1620">
          <p15:clr>
            <a:srgbClr val="A4A3A4"/>
          </p15:clr>
        </p15:guide>
        <p15:guide id="18" orient="horz" pos="402">
          <p15:clr>
            <a:srgbClr val="A4A3A4"/>
          </p15:clr>
        </p15:guide>
        <p15:guide id="19" orient="horz" pos="782">
          <p15:clr>
            <a:srgbClr val="A4A3A4"/>
          </p15:clr>
        </p15:guide>
        <p15:guide id="20" orient="horz" pos="1926">
          <p15:clr>
            <a:srgbClr val="A4A3A4"/>
          </p15:clr>
        </p15:guide>
        <p15:guide id="21" orient="horz" pos="1416">
          <p15:clr>
            <a:srgbClr val="A4A3A4"/>
          </p15:clr>
        </p15:guide>
        <p15:guide id="22" orient="horz" pos="2300">
          <p15:clr>
            <a:srgbClr val="A4A3A4"/>
          </p15:clr>
        </p15:guide>
        <p15:guide id="23" pos="2881">
          <p15:clr>
            <a:srgbClr val="A4A3A4"/>
          </p15:clr>
        </p15:guide>
        <p15:guide id="24" pos="115">
          <p15:clr>
            <a:srgbClr val="A4A3A4"/>
          </p15:clr>
        </p15:guide>
        <p15:guide id="25" pos="5643">
          <p15:clr>
            <a:srgbClr val="A4A3A4"/>
          </p15:clr>
        </p15:guide>
        <p15:guide id="26" pos="5655">
          <p15:clr>
            <a:srgbClr val="A4A3A4"/>
          </p15:clr>
        </p15:guide>
        <p15:guide id="27" pos="3718">
          <p15:clr>
            <a:srgbClr val="A4A3A4"/>
          </p15:clr>
        </p15:guide>
        <p15:guide id="28" pos="5645">
          <p15:clr>
            <a:srgbClr val="A4A3A4"/>
          </p15:clr>
        </p15:guide>
      </p15:sldGuideLst>
    </p:ext>
    <p:ext uri="{2D200454-40CA-4A62-9FC3-DE9A4176ACB9}">
      <p15:notesGuideLst xmlns:p15="http://schemas.microsoft.com/office/powerpoint/2012/main" xmlns="">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9" name="Автор" initials="A" lastIdx="0" clrIdx="19"/>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9A00"/>
    <a:srgbClr val="000000"/>
    <a:srgbClr val="FFFFFF"/>
    <a:srgbClr val="FFA80C"/>
    <a:srgbClr val="669900"/>
    <a:srgbClr val="FF3300"/>
    <a:srgbClr val="A3D44C"/>
    <a:srgbClr val="DFE5E8"/>
    <a:srgbClr val="7DAAED"/>
    <a:srgbClr val="808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03" autoAdjust="0"/>
    <p:restoredTop sz="98046" autoAdjust="0"/>
  </p:normalViewPr>
  <p:slideViewPr>
    <p:cSldViewPr snapToGrid="0" showGuides="1">
      <p:cViewPr>
        <p:scale>
          <a:sx n="161" d="100"/>
          <a:sy n="161" d="100"/>
        </p:scale>
        <p:origin x="-90" y="-24"/>
      </p:cViewPr>
      <p:guideLst>
        <p:guide orient="horz" pos="119"/>
        <p:guide orient="horz" pos="482"/>
        <p:guide orient="horz" pos="2160"/>
        <p:guide orient="horz" pos="536"/>
        <p:guide orient="horz" pos="1043"/>
        <p:guide orient="horz" pos="2568"/>
        <p:guide orient="horz" pos="1888"/>
        <p:guide orient="horz" pos="3067"/>
        <p:guide orient="horz" pos="89"/>
        <p:guide orient="horz" pos="362"/>
        <p:guide orient="horz" pos="1620"/>
        <p:guide orient="horz" pos="402"/>
        <p:guide orient="horz" pos="782"/>
        <p:guide orient="horz" pos="1926"/>
        <p:guide orient="horz" pos="1416"/>
        <p:guide orient="horz" pos="2300"/>
        <p:guide pos="3120"/>
        <p:guide pos="126"/>
        <p:guide pos="6113"/>
        <p:guide pos="6125"/>
        <p:guide pos="4027"/>
        <p:guide pos="6114"/>
        <p:guide pos="2881"/>
        <p:guide pos="115"/>
        <p:guide pos="5643"/>
        <p:guide pos="5655"/>
        <p:guide pos="3718"/>
        <p:guide pos="5645"/>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p:scale>
          <a:sx n="100" d="100"/>
          <a:sy n="100" d="100"/>
        </p:scale>
        <p:origin x="-2910" y="126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6400"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1"/>
            <a:ext cx="2946400" cy="496332"/>
          </a:xfrm>
          <a:prstGeom prst="rect">
            <a:avLst/>
          </a:prstGeom>
        </p:spPr>
        <p:txBody>
          <a:bodyPr vert="horz" lIns="91440" tIns="45720" rIns="91440" bIns="45720" rtlCol="0"/>
          <a:lstStyle>
            <a:lvl1pPr algn="r">
              <a:defRPr sz="1200"/>
            </a:lvl1pPr>
          </a:lstStyle>
          <a:p>
            <a:fld id="{E2AADE24-2B94-4FF9-8596-6D495B870FFA}" type="datetimeFigureOut">
              <a:rPr lang="de-DE" smtClean="0"/>
              <a:t>22.04.2018</a:t>
            </a:fld>
            <a:endParaRPr lang="de-DE"/>
          </a:p>
        </p:txBody>
      </p:sp>
      <p:sp>
        <p:nvSpPr>
          <p:cNvPr id="4" name="Fußzeilenplatzhalter 3"/>
          <p:cNvSpPr>
            <a:spLocks noGrp="1"/>
          </p:cNvSpPr>
          <p:nvPr>
            <p:ph type="ftr" sz="quarter" idx="2"/>
          </p:nvPr>
        </p:nvSpPr>
        <p:spPr>
          <a:xfrm>
            <a:off x="0" y="9428711"/>
            <a:ext cx="2946400"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711"/>
            <a:ext cx="2946400" cy="496332"/>
          </a:xfrm>
          <a:prstGeom prst="rect">
            <a:avLst/>
          </a:prstGeom>
        </p:spPr>
        <p:txBody>
          <a:bodyPr vert="horz" lIns="91440" tIns="45720" rIns="91440" bIns="45720" rtlCol="0" anchor="b"/>
          <a:lstStyle>
            <a:lvl1pPr algn="r">
              <a:defRPr sz="1200"/>
            </a:lvl1pPr>
          </a:lstStyle>
          <a:p>
            <a:fld id="{6BDE720B-B141-47BB-86B2-BBAB1D685513}" type="slidenum">
              <a:rPr lang="de-DE" smtClean="0"/>
              <a:t>‹#›</a:t>
            </a:fld>
            <a:endParaRPr lang="de-DE"/>
          </a:p>
        </p:txBody>
      </p:sp>
    </p:spTree>
    <p:extLst>
      <p:ext uri="{BB962C8B-B14F-4D97-AF65-F5344CB8AC3E}">
        <p14:creationId xmlns:p14="http://schemas.microsoft.com/office/powerpoint/2010/main" val="340363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4" y="1"/>
            <a:ext cx="2945659" cy="496332"/>
          </a:xfrm>
          <a:prstGeom prst="rect">
            <a:avLst/>
          </a:prstGeom>
        </p:spPr>
        <p:txBody>
          <a:bodyPr vert="horz" lIns="91440" tIns="45720" rIns="91440" bIns="45720" rtlCol="0"/>
          <a:lstStyle>
            <a:lvl1pPr algn="r">
              <a:defRPr sz="1200"/>
            </a:lvl1pPr>
          </a:lstStyle>
          <a:p>
            <a:fld id="{40F6402B-DB8C-4CD0-8333-1293CA7CBFB4}" type="datetimeFigureOut">
              <a:rPr lang="de-DE" smtClean="0"/>
              <a:t>22.04.2018</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4"/>
            <a:ext cx="5438140" cy="4466988"/>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273DC81D-38FA-4EFB-A816-49076D4E1450}" type="slidenum">
              <a:rPr lang="de-DE" smtClean="0"/>
              <a:t>‹#›</a:t>
            </a:fld>
            <a:endParaRPr lang="de-DE"/>
          </a:p>
        </p:txBody>
      </p:sp>
    </p:spTree>
    <p:extLst>
      <p:ext uri="{BB962C8B-B14F-4D97-AF65-F5344CB8AC3E}">
        <p14:creationId xmlns:p14="http://schemas.microsoft.com/office/powerpoint/2010/main" val="3175953799"/>
      </p:ext>
    </p:extLst>
  </p:cSld>
  <p:clrMap bg1="lt1" tx1="dk1" bg2="lt2" tx2="dk2" accent1="accent1" accent2="accent2" accent3="accent3" accent4="accent4" accent5="accent5" accent6="accent6" hlink="hlink" folHlink="folHlink"/>
  <p:notesStyle>
    <a:lvl1pPr marL="0" algn="l" defTabSz="779074" rtl="0" eaLnBrk="1" latinLnBrk="0" hangingPunct="1">
      <a:defRPr sz="1000" kern="1200">
        <a:solidFill>
          <a:schemeClr val="tx1"/>
        </a:solidFill>
        <a:latin typeface="+mn-lt"/>
        <a:ea typeface="+mn-ea"/>
        <a:cs typeface="+mn-cs"/>
      </a:defRPr>
    </a:lvl1pPr>
    <a:lvl2pPr marL="389538" algn="l" defTabSz="779074" rtl="0" eaLnBrk="1" latinLnBrk="0" hangingPunct="1">
      <a:defRPr sz="1000" kern="1200">
        <a:solidFill>
          <a:schemeClr val="tx1"/>
        </a:solidFill>
        <a:latin typeface="+mn-lt"/>
        <a:ea typeface="+mn-ea"/>
        <a:cs typeface="+mn-cs"/>
      </a:defRPr>
    </a:lvl2pPr>
    <a:lvl3pPr marL="779074" algn="l" defTabSz="779074" rtl="0" eaLnBrk="1" latinLnBrk="0" hangingPunct="1">
      <a:defRPr sz="1000" kern="1200">
        <a:solidFill>
          <a:schemeClr val="tx1"/>
        </a:solidFill>
        <a:latin typeface="+mn-lt"/>
        <a:ea typeface="+mn-ea"/>
        <a:cs typeface="+mn-cs"/>
      </a:defRPr>
    </a:lvl3pPr>
    <a:lvl4pPr marL="1168612" algn="l" defTabSz="779074" rtl="0" eaLnBrk="1" latinLnBrk="0" hangingPunct="1">
      <a:defRPr sz="1000" kern="1200">
        <a:solidFill>
          <a:schemeClr val="tx1"/>
        </a:solidFill>
        <a:latin typeface="+mn-lt"/>
        <a:ea typeface="+mn-ea"/>
        <a:cs typeface="+mn-cs"/>
      </a:defRPr>
    </a:lvl4pPr>
    <a:lvl5pPr marL="1558149" algn="l" defTabSz="779074" rtl="0" eaLnBrk="1" latinLnBrk="0" hangingPunct="1">
      <a:defRPr sz="1000" kern="1200">
        <a:solidFill>
          <a:schemeClr val="tx1"/>
        </a:solidFill>
        <a:latin typeface="+mn-lt"/>
        <a:ea typeface="+mn-ea"/>
        <a:cs typeface="+mn-cs"/>
      </a:defRPr>
    </a:lvl5pPr>
    <a:lvl6pPr marL="1947686" algn="l" defTabSz="779074" rtl="0" eaLnBrk="1" latinLnBrk="0" hangingPunct="1">
      <a:defRPr sz="1000" kern="1200">
        <a:solidFill>
          <a:schemeClr val="tx1"/>
        </a:solidFill>
        <a:latin typeface="+mn-lt"/>
        <a:ea typeface="+mn-ea"/>
        <a:cs typeface="+mn-cs"/>
      </a:defRPr>
    </a:lvl6pPr>
    <a:lvl7pPr marL="2337223" algn="l" defTabSz="779074" rtl="0" eaLnBrk="1" latinLnBrk="0" hangingPunct="1">
      <a:defRPr sz="1000" kern="1200">
        <a:solidFill>
          <a:schemeClr val="tx1"/>
        </a:solidFill>
        <a:latin typeface="+mn-lt"/>
        <a:ea typeface="+mn-ea"/>
        <a:cs typeface="+mn-cs"/>
      </a:defRPr>
    </a:lvl7pPr>
    <a:lvl8pPr marL="2726760" algn="l" defTabSz="779074" rtl="0" eaLnBrk="1" latinLnBrk="0" hangingPunct="1">
      <a:defRPr sz="1000" kern="1200">
        <a:solidFill>
          <a:schemeClr val="tx1"/>
        </a:solidFill>
        <a:latin typeface="+mn-lt"/>
        <a:ea typeface="+mn-ea"/>
        <a:cs typeface="+mn-cs"/>
      </a:defRPr>
    </a:lvl8pPr>
    <a:lvl9pPr marL="3116298" algn="l" defTabSz="779074"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r>
              <a:rPr lang="en-US" dirty="0" smtClean="0">
                <a:effectLst/>
              </a:rPr>
              <a:t>ABSTRACT: </a:t>
            </a:r>
          </a:p>
          <a:p>
            <a:r>
              <a:rPr lang="en-US" dirty="0" smtClean="0">
                <a:effectLst/>
              </a:rPr>
              <a:t>More than a decade ago, the research and academic communities of the world set out together to transform the way research was published and disseminated. The common vision was to leverage the full potential of our digital environment and barrier-free access to knowledge in order to foster innovative forms of scientific inquiry and enable faster and more impactful communication of results for the advancement of science. Today, the academic narrative has moved on and expanded to Open Science, of which Open Access is just one component, but we are still very far from having delivered to our researchers the benefits of unencumbered access to knowledge that we had promised. In order to achieve a global, open information environment, we must all take a holistic approach and, even as we invest in new and diverse open publishing platforms and initiatives, address the paywall system head-on. With historic transformational license agreements already being negotiated in Europe and consensus around the OA2020 transformation growing in Asia and beyond, all stakeholders—from funders and researchers to publishers and libraries—have the opportunity to propel the open access movement forward, abandoning the atavistic subscription system and supporting innovative business and funding models.</a:t>
            </a:r>
            <a:endParaRPr lang="en-US" baseline="0" noProof="0"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t>0</a:t>
            </a:fld>
            <a:endParaRPr lang="de-DE"/>
          </a:p>
        </p:txBody>
      </p:sp>
    </p:spTree>
    <p:extLst>
      <p:ext uri="{BB962C8B-B14F-4D97-AF65-F5344CB8AC3E}">
        <p14:creationId xmlns:p14="http://schemas.microsoft.com/office/powerpoint/2010/main" val="9896559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lumMod val="50000"/>
                </a:schemeClr>
              </a:solidFill>
              <a:latin typeface="+mn-lt"/>
              <a:ea typeface="+mn-ea"/>
              <a:cs typeface="+mn-cs"/>
            </a:endParaRPr>
          </a:p>
        </p:txBody>
      </p:sp>
      <p:sp>
        <p:nvSpPr>
          <p:cNvPr id="4" name="Foliennummernplatzhalter 3"/>
          <p:cNvSpPr>
            <a:spLocks noGrp="1"/>
          </p:cNvSpPr>
          <p:nvPr>
            <p:ph type="sldNum" sz="quarter" idx="10"/>
          </p:nvPr>
        </p:nvSpPr>
        <p:spPr/>
        <p:txBody>
          <a:bodyPr/>
          <a:lstStyle/>
          <a:p>
            <a:fld id="{75A143C9-1512-4BD4-88BC-3D7F468DC828}" type="slidenum">
              <a:rPr lang="en-GB" smtClean="0"/>
              <a:t>11</a:t>
            </a:fld>
            <a:endParaRPr lang="en-GB"/>
          </a:p>
        </p:txBody>
      </p:sp>
    </p:spTree>
    <p:extLst>
      <p:ext uri="{BB962C8B-B14F-4D97-AF65-F5344CB8AC3E}">
        <p14:creationId xmlns:p14="http://schemas.microsoft.com/office/powerpoint/2010/main" val="20935756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lumMod val="50000"/>
                </a:schemeClr>
              </a:solidFill>
              <a:latin typeface="+mn-lt"/>
              <a:ea typeface="+mn-ea"/>
              <a:cs typeface="+mn-cs"/>
            </a:endParaRPr>
          </a:p>
        </p:txBody>
      </p:sp>
      <p:sp>
        <p:nvSpPr>
          <p:cNvPr id="4" name="Foliennummernplatzhalter 3"/>
          <p:cNvSpPr>
            <a:spLocks noGrp="1"/>
          </p:cNvSpPr>
          <p:nvPr>
            <p:ph type="sldNum" sz="quarter" idx="10"/>
          </p:nvPr>
        </p:nvSpPr>
        <p:spPr/>
        <p:txBody>
          <a:bodyPr/>
          <a:lstStyle/>
          <a:p>
            <a:fld id="{75A143C9-1512-4BD4-88BC-3D7F468DC828}" type="slidenum">
              <a:rPr lang="en-GB" smtClean="0"/>
              <a:t>12</a:t>
            </a:fld>
            <a:endParaRPr lang="en-GB"/>
          </a:p>
        </p:txBody>
      </p:sp>
    </p:spTree>
    <p:extLst>
      <p:ext uri="{BB962C8B-B14F-4D97-AF65-F5344CB8AC3E}">
        <p14:creationId xmlns:p14="http://schemas.microsoft.com/office/powerpoint/2010/main" val="20935756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lumMod val="50000"/>
                </a:schemeClr>
              </a:solidFill>
              <a:latin typeface="+mn-lt"/>
              <a:ea typeface="+mn-ea"/>
              <a:cs typeface="+mn-cs"/>
            </a:endParaRPr>
          </a:p>
        </p:txBody>
      </p:sp>
      <p:sp>
        <p:nvSpPr>
          <p:cNvPr id="4" name="Foliennummernplatzhalter 3"/>
          <p:cNvSpPr>
            <a:spLocks noGrp="1"/>
          </p:cNvSpPr>
          <p:nvPr>
            <p:ph type="sldNum" sz="quarter" idx="10"/>
          </p:nvPr>
        </p:nvSpPr>
        <p:spPr/>
        <p:txBody>
          <a:bodyPr/>
          <a:lstStyle/>
          <a:p>
            <a:fld id="{75A143C9-1512-4BD4-88BC-3D7F468DC828}" type="slidenum">
              <a:rPr lang="en-GB" smtClean="0"/>
              <a:t>13</a:t>
            </a:fld>
            <a:endParaRPr lang="en-GB"/>
          </a:p>
        </p:txBody>
      </p:sp>
    </p:spTree>
    <p:extLst>
      <p:ext uri="{BB962C8B-B14F-4D97-AF65-F5344CB8AC3E}">
        <p14:creationId xmlns:p14="http://schemas.microsoft.com/office/powerpoint/2010/main" val="20935756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US" baseline="0" noProof="0"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t>14</a:t>
            </a:fld>
            <a:endParaRPr lang="de-DE"/>
          </a:p>
        </p:txBody>
      </p:sp>
    </p:spTree>
    <p:extLst>
      <p:ext uri="{BB962C8B-B14F-4D97-AF65-F5344CB8AC3E}">
        <p14:creationId xmlns:p14="http://schemas.microsoft.com/office/powerpoint/2010/main" val="2858443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lumMod val="50000"/>
                </a:schemeClr>
              </a:solidFill>
              <a:latin typeface="+mn-lt"/>
              <a:ea typeface="+mn-ea"/>
              <a:cs typeface="+mn-cs"/>
            </a:endParaRPr>
          </a:p>
        </p:txBody>
      </p:sp>
      <p:sp>
        <p:nvSpPr>
          <p:cNvPr id="4" name="Foliennummernplatzhalter 3"/>
          <p:cNvSpPr>
            <a:spLocks noGrp="1"/>
          </p:cNvSpPr>
          <p:nvPr>
            <p:ph type="sldNum" sz="quarter" idx="10"/>
          </p:nvPr>
        </p:nvSpPr>
        <p:spPr/>
        <p:txBody>
          <a:bodyPr/>
          <a:lstStyle/>
          <a:p>
            <a:fld id="{75A143C9-1512-4BD4-88BC-3D7F468DC828}" type="slidenum">
              <a:rPr lang="en-GB" smtClean="0"/>
              <a:t>15</a:t>
            </a:fld>
            <a:endParaRPr lang="en-GB"/>
          </a:p>
        </p:txBody>
      </p:sp>
    </p:spTree>
    <p:extLst>
      <p:ext uri="{BB962C8B-B14F-4D97-AF65-F5344CB8AC3E}">
        <p14:creationId xmlns:p14="http://schemas.microsoft.com/office/powerpoint/2010/main" val="20935756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US" baseline="0" noProof="0"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t>16</a:t>
            </a:fld>
            <a:endParaRPr lang="de-DE"/>
          </a:p>
        </p:txBody>
      </p:sp>
    </p:spTree>
    <p:extLst>
      <p:ext uri="{BB962C8B-B14F-4D97-AF65-F5344CB8AC3E}">
        <p14:creationId xmlns:p14="http://schemas.microsoft.com/office/powerpoint/2010/main" val="28584433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US" baseline="0" noProof="0"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t>17</a:t>
            </a:fld>
            <a:endParaRPr lang="de-DE"/>
          </a:p>
        </p:txBody>
      </p:sp>
    </p:spTree>
    <p:extLst>
      <p:ext uri="{BB962C8B-B14F-4D97-AF65-F5344CB8AC3E}">
        <p14:creationId xmlns:p14="http://schemas.microsoft.com/office/powerpoint/2010/main" val="28584433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lumMod val="50000"/>
                </a:schemeClr>
              </a:solidFill>
              <a:latin typeface="+mn-lt"/>
              <a:ea typeface="+mn-ea"/>
              <a:cs typeface="+mn-cs"/>
            </a:endParaRPr>
          </a:p>
        </p:txBody>
      </p:sp>
      <p:sp>
        <p:nvSpPr>
          <p:cNvPr id="4" name="Foliennummernplatzhalter 3"/>
          <p:cNvSpPr>
            <a:spLocks noGrp="1"/>
          </p:cNvSpPr>
          <p:nvPr>
            <p:ph type="sldNum" sz="quarter" idx="10"/>
          </p:nvPr>
        </p:nvSpPr>
        <p:spPr/>
        <p:txBody>
          <a:bodyPr/>
          <a:lstStyle/>
          <a:p>
            <a:fld id="{75A143C9-1512-4BD4-88BC-3D7F468DC828}" type="slidenum">
              <a:rPr lang="en-GB" smtClean="0"/>
              <a:t>18</a:t>
            </a:fld>
            <a:endParaRPr lang="en-GB"/>
          </a:p>
        </p:txBody>
      </p:sp>
    </p:spTree>
    <p:extLst>
      <p:ext uri="{BB962C8B-B14F-4D97-AF65-F5344CB8AC3E}">
        <p14:creationId xmlns:p14="http://schemas.microsoft.com/office/powerpoint/2010/main" val="20935756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lumMod val="50000"/>
                </a:schemeClr>
              </a:solidFill>
              <a:latin typeface="+mn-lt"/>
              <a:ea typeface="+mn-ea"/>
              <a:cs typeface="+mn-cs"/>
            </a:endParaRPr>
          </a:p>
        </p:txBody>
      </p:sp>
      <p:sp>
        <p:nvSpPr>
          <p:cNvPr id="4" name="Foliennummernplatzhalter 3"/>
          <p:cNvSpPr>
            <a:spLocks noGrp="1"/>
          </p:cNvSpPr>
          <p:nvPr>
            <p:ph type="sldNum" sz="quarter" idx="10"/>
          </p:nvPr>
        </p:nvSpPr>
        <p:spPr/>
        <p:txBody>
          <a:bodyPr/>
          <a:lstStyle/>
          <a:p>
            <a:fld id="{75A143C9-1512-4BD4-88BC-3D7F468DC828}" type="slidenum">
              <a:rPr lang="en-GB" smtClean="0"/>
              <a:t>19</a:t>
            </a:fld>
            <a:endParaRPr lang="en-GB"/>
          </a:p>
        </p:txBody>
      </p:sp>
    </p:spTree>
    <p:extLst>
      <p:ext uri="{BB962C8B-B14F-4D97-AF65-F5344CB8AC3E}">
        <p14:creationId xmlns:p14="http://schemas.microsoft.com/office/powerpoint/2010/main" val="20935756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75A143C9-1512-4BD4-88BC-3D7F468DC828}" type="slidenum">
              <a:rPr lang="en-GB" smtClean="0"/>
              <a:t>20</a:t>
            </a:fld>
            <a:endParaRPr lang="en-GB"/>
          </a:p>
        </p:txBody>
      </p:sp>
    </p:spTree>
    <p:extLst>
      <p:ext uri="{BB962C8B-B14F-4D97-AF65-F5344CB8AC3E}">
        <p14:creationId xmlns:p14="http://schemas.microsoft.com/office/powerpoint/2010/main" val="38870741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3DC81D-38FA-4EFB-A816-49076D4E1450}" type="slidenum">
              <a:rPr lang="de-DE" smtClean="0"/>
              <a:t>2</a:t>
            </a:fld>
            <a:endParaRPr lang="de-DE"/>
          </a:p>
        </p:txBody>
      </p:sp>
    </p:spTree>
    <p:extLst>
      <p:ext uri="{BB962C8B-B14F-4D97-AF65-F5344CB8AC3E}">
        <p14:creationId xmlns:p14="http://schemas.microsoft.com/office/powerpoint/2010/main" val="24487712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GB" dirty="0" smtClean="0"/>
          </a:p>
          <a:p>
            <a:endParaRPr lang="en-GB" dirty="0"/>
          </a:p>
        </p:txBody>
      </p:sp>
      <p:sp>
        <p:nvSpPr>
          <p:cNvPr id="4" name="Foliennummernplatzhalter 3"/>
          <p:cNvSpPr>
            <a:spLocks noGrp="1"/>
          </p:cNvSpPr>
          <p:nvPr>
            <p:ph type="sldNum" sz="quarter" idx="10"/>
          </p:nvPr>
        </p:nvSpPr>
        <p:spPr/>
        <p:txBody>
          <a:bodyPr/>
          <a:lstStyle/>
          <a:p>
            <a:fld id="{75A143C9-1512-4BD4-88BC-3D7F468DC828}" type="slidenum">
              <a:rPr lang="en-GB" smtClean="0"/>
              <a:t>21</a:t>
            </a:fld>
            <a:endParaRPr lang="en-GB"/>
          </a:p>
        </p:txBody>
      </p:sp>
    </p:spTree>
    <p:extLst>
      <p:ext uri="{BB962C8B-B14F-4D97-AF65-F5344CB8AC3E}">
        <p14:creationId xmlns:p14="http://schemas.microsoft.com/office/powerpoint/2010/main" val="28158925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aseline="0" noProof="0"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t>22</a:t>
            </a:fld>
            <a:endParaRPr lang="de-DE"/>
          </a:p>
        </p:txBody>
      </p:sp>
    </p:spTree>
    <p:extLst>
      <p:ext uri="{BB962C8B-B14F-4D97-AF65-F5344CB8AC3E}">
        <p14:creationId xmlns:p14="http://schemas.microsoft.com/office/powerpoint/2010/main" val="230288409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aseline="0" noProof="0"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t>23</a:t>
            </a:fld>
            <a:endParaRPr lang="de-DE"/>
          </a:p>
        </p:txBody>
      </p:sp>
    </p:spTree>
    <p:extLst>
      <p:ext uri="{BB962C8B-B14F-4D97-AF65-F5344CB8AC3E}">
        <p14:creationId xmlns:p14="http://schemas.microsoft.com/office/powerpoint/2010/main" val="12020527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GB" dirty="0" smtClean="0"/>
          </a:p>
        </p:txBody>
      </p:sp>
      <p:sp>
        <p:nvSpPr>
          <p:cNvPr id="4" name="Foliennummernplatzhalter 3"/>
          <p:cNvSpPr>
            <a:spLocks noGrp="1"/>
          </p:cNvSpPr>
          <p:nvPr>
            <p:ph type="sldNum" sz="quarter" idx="10"/>
          </p:nvPr>
        </p:nvSpPr>
        <p:spPr/>
        <p:txBody>
          <a:bodyPr/>
          <a:lstStyle/>
          <a:p>
            <a:fld id="{75A143C9-1512-4BD4-88BC-3D7F468DC828}" type="slidenum">
              <a:rPr lang="en-GB" smtClean="0"/>
              <a:t>24</a:t>
            </a:fld>
            <a:endParaRPr lang="en-GB"/>
          </a:p>
        </p:txBody>
      </p:sp>
    </p:spTree>
    <p:extLst>
      <p:ext uri="{BB962C8B-B14F-4D97-AF65-F5344CB8AC3E}">
        <p14:creationId xmlns:p14="http://schemas.microsoft.com/office/powerpoint/2010/main" val="24465063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US" baseline="0" noProof="0"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t>25</a:t>
            </a:fld>
            <a:endParaRPr lang="de-DE"/>
          </a:p>
        </p:txBody>
      </p:sp>
    </p:spTree>
    <p:extLst>
      <p:ext uri="{BB962C8B-B14F-4D97-AF65-F5344CB8AC3E}">
        <p14:creationId xmlns:p14="http://schemas.microsoft.com/office/powerpoint/2010/main" val="28584433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273DC81D-38FA-4EFB-A816-49076D4E1450}" type="slidenum">
              <a:rPr lang="de-DE" smtClean="0"/>
              <a:t>26</a:t>
            </a:fld>
            <a:endParaRPr lang="de-DE"/>
          </a:p>
        </p:txBody>
      </p:sp>
    </p:spTree>
    <p:extLst>
      <p:ext uri="{BB962C8B-B14F-4D97-AF65-F5344CB8AC3E}">
        <p14:creationId xmlns:p14="http://schemas.microsoft.com/office/powerpoint/2010/main" val="2514681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en-US" baseline="0" noProof="0" dirty="0" smtClean="0"/>
          </a:p>
        </p:txBody>
      </p:sp>
      <p:sp>
        <p:nvSpPr>
          <p:cNvPr id="4" name="Foliennummernplatzhalter 3"/>
          <p:cNvSpPr>
            <a:spLocks noGrp="1"/>
          </p:cNvSpPr>
          <p:nvPr>
            <p:ph type="sldNum" sz="quarter" idx="10"/>
          </p:nvPr>
        </p:nvSpPr>
        <p:spPr/>
        <p:txBody>
          <a:bodyPr/>
          <a:lstStyle/>
          <a:p>
            <a:fld id="{273DC81D-38FA-4EFB-A816-49076D4E1450}" type="slidenum">
              <a:rPr lang="de-DE" smtClean="0"/>
              <a:t>27</a:t>
            </a:fld>
            <a:endParaRPr lang="de-DE"/>
          </a:p>
        </p:txBody>
      </p:sp>
    </p:spTree>
    <p:extLst>
      <p:ext uri="{BB962C8B-B14F-4D97-AF65-F5344CB8AC3E}">
        <p14:creationId xmlns:p14="http://schemas.microsoft.com/office/powerpoint/2010/main" val="2243945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3DC81D-38FA-4EFB-A816-49076D4E1450}" type="slidenum">
              <a:rPr lang="de-DE" smtClean="0"/>
              <a:t>3</a:t>
            </a:fld>
            <a:endParaRPr lang="de-DE"/>
          </a:p>
        </p:txBody>
      </p:sp>
    </p:spTree>
    <p:extLst>
      <p:ext uri="{BB962C8B-B14F-4D97-AF65-F5344CB8AC3E}">
        <p14:creationId xmlns:p14="http://schemas.microsoft.com/office/powerpoint/2010/main" val="2448771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73DC81D-38FA-4EFB-A816-49076D4E1450}" type="slidenum">
              <a:rPr lang="de-DE" smtClean="0"/>
              <a:t>4</a:t>
            </a:fld>
            <a:endParaRPr lang="de-DE"/>
          </a:p>
        </p:txBody>
      </p:sp>
    </p:spTree>
    <p:extLst>
      <p:ext uri="{BB962C8B-B14F-4D97-AF65-F5344CB8AC3E}">
        <p14:creationId xmlns:p14="http://schemas.microsoft.com/office/powerpoint/2010/main" val="37212744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r>
              <a:rPr lang="en-GB" sz="1200" b="0" i="0" u="none" strike="noStrike" kern="1200" baseline="0" dirty="0" err="1" smtClean="0">
                <a:solidFill>
                  <a:schemeClr val="tx1"/>
                </a:solidFill>
                <a:latin typeface="+mn-lt"/>
                <a:ea typeface="+mn-ea"/>
                <a:cs typeface="+mn-cs"/>
              </a:rPr>
              <a:t>Oafinr</a:t>
            </a:r>
            <a:r>
              <a:rPr lang="en-GB" sz="1200" b="0" i="0" u="none" strike="noStrike" kern="1200" baseline="0" dirty="0" smtClean="0">
                <a:solidFill>
                  <a:schemeClr val="tx1"/>
                </a:solidFill>
                <a:latin typeface="+mn-lt"/>
                <a:ea typeface="+mn-ea"/>
                <a:cs typeface="+mn-cs"/>
              </a:rPr>
              <a:t>, now called 1findr</a:t>
            </a:r>
            <a:endParaRPr lang="de-DE"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Data sources: repositories, publisher websites, web pages of institutes/individual researchers, academic research networks </a:t>
            </a:r>
          </a:p>
          <a:p>
            <a:r>
              <a:rPr lang="en-US" sz="1200" b="0" i="0" u="none" strike="noStrike" kern="1200" baseline="0" dirty="0" smtClean="0">
                <a:solidFill>
                  <a:schemeClr val="tx1"/>
                </a:solidFill>
                <a:latin typeface="+mn-lt"/>
                <a:ea typeface="+mn-ea"/>
                <a:cs typeface="+mn-cs"/>
              </a:rPr>
              <a:t>Size: 28 million articles (50% of the current scientific literature) </a:t>
            </a:r>
          </a:p>
          <a:p>
            <a:r>
              <a:rPr lang="de-DE" sz="1200" b="0" i="0" u="none" strike="noStrike" kern="1200" baseline="0" dirty="0" smtClean="0">
                <a:solidFill>
                  <a:schemeClr val="tx1"/>
                </a:solidFill>
                <a:latin typeface="+mn-lt"/>
                <a:ea typeface="+mn-ea"/>
                <a:cs typeface="+mn-cs"/>
              </a:rPr>
              <a:t>API: </a:t>
            </a:r>
            <a:r>
              <a:rPr lang="de-DE" sz="1200" b="0" i="0" u="none" strike="noStrike" kern="1200" baseline="0" dirty="0" err="1" smtClean="0">
                <a:solidFill>
                  <a:schemeClr val="tx1"/>
                </a:solidFill>
                <a:latin typeface="+mn-lt"/>
                <a:ea typeface="+mn-ea"/>
                <a:cs typeface="+mn-cs"/>
              </a:rPr>
              <a:t>available</a:t>
            </a:r>
            <a:r>
              <a:rPr lang="de-DE" sz="1200" b="0" i="0" u="none" strike="noStrike" kern="1200" baseline="0" dirty="0" smtClean="0">
                <a:solidFill>
                  <a:schemeClr val="tx1"/>
                </a:solidFill>
                <a:latin typeface="+mn-lt"/>
                <a:ea typeface="+mn-ea"/>
                <a:cs typeface="+mn-cs"/>
              </a:rPr>
              <a:t> to </a:t>
            </a:r>
            <a:r>
              <a:rPr lang="de-DE" sz="1200" b="0" i="0" u="none" strike="noStrike" kern="1200" baseline="0" dirty="0" err="1" smtClean="0">
                <a:solidFill>
                  <a:schemeClr val="tx1"/>
                </a:solidFill>
                <a:latin typeface="+mn-lt"/>
                <a:ea typeface="+mn-ea"/>
                <a:cs typeface="+mn-cs"/>
              </a:rPr>
              <a:t>subscribers</a:t>
            </a:r>
            <a:r>
              <a:rPr lang="de-DE" sz="1200" b="0" i="0" u="none" strike="noStrike" kern="1200" baseline="0" dirty="0" smtClean="0">
                <a:solidFill>
                  <a:schemeClr val="tx1"/>
                </a:solidFill>
                <a:latin typeface="+mn-lt"/>
                <a:ea typeface="+mn-ea"/>
                <a:cs typeface="+mn-cs"/>
              </a:rPr>
              <a:t> </a:t>
            </a:r>
            <a:endParaRPr lang="de-DE" dirty="0"/>
          </a:p>
        </p:txBody>
      </p:sp>
      <p:sp>
        <p:nvSpPr>
          <p:cNvPr id="4" name="Slide Number Placeholder 3"/>
          <p:cNvSpPr>
            <a:spLocks noGrp="1"/>
          </p:cNvSpPr>
          <p:nvPr>
            <p:ph type="sldNum" sz="quarter" idx="10"/>
          </p:nvPr>
        </p:nvSpPr>
        <p:spPr/>
        <p:txBody>
          <a:bodyPr/>
          <a:lstStyle/>
          <a:p>
            <a:fld id="{273DC81D-38FA-4EFB-A816-49076D4E1450}" type="slidenum">
              <a:rPr lang="de-DE" smtClean="0"/>
              <a:t>5</a:t>
            </a:fld>
            <a:endParaRPr lang="de-DE"/>
          </a:p>
        </p:txBody>
      </p:sp>
    </p:spTree>
    <p:extLst>
      <p:ext uri="{BB962C8B-B14F-4D97-AF65-F5344CB8AC3E}">
        <p14:creationId xmlns:p14="http://schemas.microsoft.com/office/powerpoint/2010/main" val="31249077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73DC81D-38FA-4EFB-A816-49076D4E1450}" type="slidenum">
              <a:rPr lang="de-DE" smtClean="0"/>
              <a:t>7</a:t>
            </a:fld>
            <a:endParaRPr lang="de-DE"/>
          </a:p>
        </p:txBody>
      </p:sp>
    </p:spTree>
    <p:extLst>
      <p:ext uri="{BB962C8B-B14F-4D97-AF65-F5344CB8AC3E}">
        <p14:creationId xmlns:p14="http://schemas.microsoft.com/office/powerpoint/2010/main" val="23592116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73DC81D-38FA-4EFB-A816-49076D4E1450}" type="slidenum">
              <a:rPr lang="de-DE" smtClean="0"/>
              <a:t>8</a:t>
            </a:fld>
            <a:endParaRPr lang="de-DE"/>
          </a:p>
        </p:txBody>
      </p:sp>
    </p:spTree>
    <p:extLst>
      <p:ext uri="{BB962C8B-B14F-4D97-AF65-F5344CB8AC3E}">
        <p14:creationId xmlns:p14="http://schemas.microsoft.com/office/powerpoint/2010/main" val="23592116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273DC81D-38FA-4EFB-A816-49076D4E1450}" type="slidenum">
              <a:rPr lang="de-DE" smtClean="0"/>
              <a:t>9</a:t>
            </a:fld>
            <a:endParaRPr lang="de-DE"/>
          </a:p>
        </p:txBody>
      </p:sp>
    </p:spTree>
    <p:extLst>
      <p:ext uri="{BB962C8B-B14F-4D97-AF65-F5344CB8AC3E}">
        <p14:creationId xmlns:p14="http://schemas.microsoft.com/office/powerpoint/2010/main" val="23592116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bg1">
                  <a:lumMod val="50000"/>
                </a:schemeClr>
              </a:solidFill>
              <a:latin typeface="+mn-lt"/>
              <a:ea typeface="+mn-ea"/>
              <a:cs typeface="+mn-cs"/>
            </a:endParaRPr>
          </a:p>
        </p:txBody>
      </p:sp>
      <p:sp>
        <p:nvSpPr>
          <p:cNvPr id="4" name="Foliennummernplatzhalter 3"/>
          <p:cNvSpPr>
            <a:spLocks noGrp="1"/>
          </p:cNvSpPr>
          <p:nvPr>
            <p:ph type="sldNum" sz="quarter" idx="10"/>
          </p:nvPr>
        </p:nvSpPr>
        <p:spPr/>
        <p:txBody>
          <a:bodyPr/>
          <a:lstStyle/>
          <a:p>
            <a:fld id="{75A143C9-1512-4BD4-88BC-3D7F468DC828}" type="slidenum">
              <a:rPr lang="en-GB" smtClean="0"/>
              <a:t>10</a:t>
            </a:fld>
            <a:endParaRPr lang="en-GB"/>
          </a:p>
        </p:txBody>
      </p:sp>
    </p:spTree>
    <p:extLst>
      <p:ext uri="{BB962C8B-B14F-4D97-AF65-F5344CB8AC3E}">
        <p14:creationId xmlns:p14="http://schemas.microsoft.com/office/powerpoint/2010/main" val="209357569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4" name="Rechteck 3"/>
          <p:cNvSpPr/>
          <p:nvPr userDrawn="1"/>
        </p:nvSpPr>
        <p:spPr>
          <a:xfrm>
            <a:off x="0" y="2479433"/>
            <a:ext cx="9144000" cy="26640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smtClean="0">
              <a:solidFill>
                <a:schemeClr val="tx1"/>
              </a:solidFill>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990178619"/>
              </p:ext>
            </p:extLst>
          </p:nvPr>
        </p:nvGraphicFramePr>
        <p:xfrm>
          <a:off x="0" y="2"/>
          <a:ext cx="146538" cy="119063"/>
        </p:xfrm>
        <a:graphic>
          <a:graphicData uri="http://schemas.openxmlformats.org/presentationml/2006/ole">
            <mc:AlternateContent xmlns:mc="http://schemas.openxmlformats.org/markup-compatibility/2006">
              <mc:Choice xmlns:v="urn:schemas-microsoft-com:vml" Requires="v">
                <p:oleObj spid="_x0000_s80658" name="think-cell Folie" r:id="rId6" imgW="341" imgH="340" progId="TCLayout.ActiveDocument.1">
                  <p:embed/>
                </p:oleObj>
              </mc:Choice>
              <mc:Fallback>
                <p:oleObj name="think-cell Folie" r:id="rId6" imgW="341" imgH="340" progId="TCLayout.ActiveDocument.1">
                  <p:embed/>
                  <p:pic>
                    <p:nvPicPr>
                      <p:cNvPr id="0" name=""/>
                      <p:cNvPicPr/>
                      <p:nvPr/>
                    </p:nvPicPr>
                    <p:blipFill>
                      <a:blip r:embed="rId7"/>
                      <a:stretch>
                        <a:fillRect/>
                      </a:stretch>
                    </p:blipFill>
                    <p:spPr>
                      <a:xfrm>
                        <a:off x="0" y="2"/>
                        <a:ext cx="146538" cy="119063"/>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932599" y="2642201"/>
            <a:ext cx="8036754" cy="307777"/>
          </a:xfrm>
        </p:spPr>
        <p:txBody>
          <a:bodyPr/>
          <a:lstStyle>
            <a:lvl1pPr>
              <a:defRPr sz="2000" b="1" baseline="0">
                <a:solidFill>
                  <a:schemeClr val="tx2"/>
                </a:solidFill>
              </a:defRPr>
            </a:lvl1pPr>
          </a:lstStyle>
          <a:p>
            <a:r>
              <a:rPr lang="de-DE" dirty="0" smtClean="0"/>
              <a:t>Präsentationstitel (plus ggf. Untertitel)</a:t>
            </a:r>
            <a:endParaRPr lang="de-DE" dirty="0"/>
          </a:p>
        </p:txBody>
      </p:sp>
      <p:sp>
        <p:nvSpPr>
          <p:cNvPr id="3" name="Untertitel 2"/>
          <p:cNvSpPr>
            <a:spLocks noGrp="1"/>
          </p:cNvSpPr>
          <p:nvPr>
            <p:ph type="subTitle" idx="1" hasCustomPrompt="1"/>
            <p:custDataLst>
              <p:tags r:id="rId4"/>
            </p:custDataLst>
          </p:nvPr>
        </p:nvSpPr>
        <p:spPr>
          <a:xfrm>
            <a:off x="932599" y="4178348"/>
            <a:ext cx="8036754" cy="456535"/>
          </a:xfrm>
        </p:spPr>
        <p:txBody>
          <a:bodyPr/>
          <a:lstStyle>
            <a:lvl1pPr marL="0" indent="0" algn="l">
              <a:buNone/>
              <a:defRPr>
                <a:solidFill>
                  <a:schemeClr val="tx2"/>
                </a:solidFill>
              </a:defRPr>
            </a:lvl1pPr>
            <a:lvl2pPr marL="389538" indent="0" algn="ctr">
              <a:buNone/>
              <a:defRPr>
                <a:solidFill>
                  <a:schemeClr val="tx1">
                    <a:tint val="75000"/>
                  </a:schemeClr>
                </a:solidFill>
              </a:defRPr>
            </a:lvl2pPr>
            <a:lvl3pPr marL="779074" indent="0" algn="ctr">
              <a:buNone/>
              <a:defRPr>
                <a:solidFill>
                  <a:schemeClr val="tx1">
                    <a:tint val="75000"/>
                  </a:schemeClr>
                </a:solidFill>
              </a:defRPr>
            </a:lvl3pPr>
            <a:lvl4pPr marL="1168612" indent="0" algn="ctr">
              <a:buNone/>
              <a:defRPr>
                <a:solidFill>
                  <a:schemeClr val="tx1">
                    <a:tint val="75000"/>
                  </a:schemeClr>
                </a:solidFill>
              </a:defRPr>
            </a:lvl4pPr>
            <a:lvl5pPr marL="1558149" indent="0" algn="ctr">
              <a:buNone/>
              <a:defRPr>
                <a:solidFill>
                  <a:schemeClr val="tx1">
                    <a:tint val="75000"/>
                  </a:schemeClr>
                </a:solidFill>
              </a:defRPr>
            </a:lvl5pPr>
            <a:lvl6pPr marL="1947686" indent="0" algn="ctr">
              <a:buNone/>
              <a:defRPr>
                <a:solidFill>
                  <a:schemeClr val="tx1">
                    <a:tint val="75000"/>
                  </a:schemeClr>
                </a:solidFill>
              </a:defRPr>
            </a:lvl6pPr>
            <a:lvl7pPr marL="2337223" indent="0" algn="ctr">
              <a:buNone/>
              <a:defRPr>
                <a:solidFill>
                  <a:schemeClr val="tx1">
                    <a:tint val="75000"/>
                  </a:schemeClr>
                </a:solidFill>
              </a:defRPr>
            </a:lvl7pPr>
            <a:lvl8pPr marL="2726760" indent="0" algn="ctr">
              <a:buNone/>
              <a:defRPr>
                <a:solidFill>
                  <a:schemeClr val="tx1">
                    <a:tint val="75000"/>
                  </a:schemeClr>
                </a:solidFill>
              </a:defRPr>
            </a:lvl8pPr>
            <a:lvl9pPr marL="3116298" indent="0" algn="ctr">
              <a:buNone/>
              <a:defRPr>
                <a:solidFill>
                  <a:schemeClr val="tx1">
                    <a:tint val="75000"/>
                  </a:schemeClr>
                </a:solidFill>
              </a:defRPr>
            </a:lvl9pPr>
          </a:lstStyle>
          <a:p>
            <a:r>
              <a:rPr lang="de-DE" dirty="0" smtClean="0"/>
              <a:t>Anlass der Präsentation</a:t>
            </a:r>
          </a:p>
          <a:p>
            <a:r>
              <a:rPr lang="de-DE" dirty="0" smtClean="0"/>
              <a:t>Ort, Datum (Format: 01. Januar 2020)</a:t>
            </a:r>
            <a:endParaRPr lang="de-DE" dirty="0"/>
          </a:p>
        </p:txBody>
      </p:sp>
      <p:pic>
        <p:nvPicPr>
          <p:cNvPr id="8" name="Grafik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58969" y="188022"/>
            <a:ext cx="4677556" cy="2160976"/>
          </a:xfrm>
          <a:prstGeom prst="rect">
            <a:avLst/>
          </a:prstGeom>
        </p:spPr>
      </p:pic>
    </p:spTree>
    <p:extLst>
      <p:ext uri="{BB962C8B-B14F-4D97-AF65-F5344CB8AC3E}">
        <p14:creationId xmlns:p14="http://schemas.microsoft.com/office/powerpoint/2010/main" val="2416250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Fakt, Titel, Text">
    <p:spTree>
      <p:nvGrpSpPr>
        <p:cNvPr id="1" name=""/>
        <p:cNvGrpSpPr/>
        <p:nvPr/>
      </p:nvGrpSpPr>
      <p:grpSpPr>
        <a:xfrm>
          <a:off x="0" y="0"/>
          <a:ext cx="0" cy="0"/>
          <a:chOff x="0" y="0"/>
          <a:chExt cx="0" cy="0"/>
        </a:xfrm>
      </p:grpSpPr>
      <p:sp>
        <p:nvSpPr>
          <p:cNvPr id="9" name="Rechteck 8"/>
          <p:cNvSpPr/>
          <p:nvPr userDrawn="1"/>
        </p:nvSpPr>
        <p:spPr>
          <a:xfrm>
            <a:off x="0" y="0"/>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smtClean="0">
              <a:solidFill>
                <a:schemeClr val="tx1"/>
              </a:solidFill>
            </a:endParaRPr>
          </a:p>
        </p:txBody>
      </p:sp>
      <p:sp>
        <p:nvSpPr>
          <p:cNvPr id="2" name="Titel 1"/>
          <p:cNvSpPr>
            <a:spLocks noGrp="1"/>
          </p:cNvSpPr>
          <p:nvPr>
            <p:ph type="title" hasCustomPrompt="1"/>
          </p:nvPr>
        </p:nvSpPr>
        <p:spPr>
          <a:xfrm>
            <a:off x="278957" y="107395"/>
            <a:ext cx="6614724" cy="161583"/>
          </a:xfrm>
        </p:spPr>
        <p:txBody>
          <a:bodyPr/>
          <a:lstStyle>
            <a:lvl1pPr>
              <a:defRPr sz="1050">
                <a:solidFill>
                  <a:schemeClr val="tx2"/>
                </a:solidFill>
              </a:defRPr>
            </a:lvl1pPr>
          </a:lstStyle>
          <a:p>
            <a:r>
              <a:rPr lang="de-DE" dirty="0" smtClean="0"/>
              <a:t>Fakt ist X. Y muss getan werden.</a:t>
            </a:r>
            <a:endParaRPr lang="de-DE" dirty="0"/>
          </a:p>
        </p:txBody>
      </p:sp>
      <p:sp>
        <p:nvSpPr>
          <p:cNvPr id="3" name="Datumsplatzhalter 2"/>
          <p:cNvSpPr>
            <a:spLocks noGrp="1"/>
          </p:cNvSpPr>
          <p:nvPr>
            <p:ph type="dt" sz="half" idx="10"/>
          </p:nvPr>
        </p:nvSpPr>
        <p:spPr>
          <a:xfrm>
            <a:off x="292704" y="5016754"/>
            <a:ext cx="936228" cy="126746"/>
          </a:xfrm>
        </p:spPr>
        <p:txBody>
          <a:bodyPr/>
          <a:lstStyle/>
          <a:p>
            <a:fld id="{CF4E8803-761A-423F-920A-7DEB27B16F30}" type="datetime1">
              <a:rPr lang="de-DE" smtClean="0"/>
              <a:pPr/>
              <a:t>22.04.2018</a:t>
            </a:fld>
            <a:endParaRPr lang="de-DE"/>
          </a:p>
        </p:txBody>
      </p:sp>
      <p:sp>
        <p:nvSpPr>
          <p:cNvPr id="4" name="Fußzeilenplatzhalter 3"/>
          <p:cNvSpPr>
            <a:spLocks noGrp="1"/>
          </p:cNvSpPr>
          <p:nvPr>
            <p:ph type="ftr" sz="quarter" idx="11"/>
          </p:nvPr>
        </p:nvSpPr>
        <p:spPr>
          <a:xfrm>
            <a:off x="292699" y="4822738"/>
            <a:ext cx="7954486" cy="149327"/>
          </a:xfrm>
        </p:spPr>
        <p:txBody>
          <a:bodyPr/>
          <a:lstStyle>
            <a:lvl1pPr algn="l">
              <a:defRPr/>
            </a:lvl1pPr>
          </a:lstStyle>
          <a:p>
            <a:r>
              <a:rPr lang="de-DE" dirty="0" smtClean="0"/>
              <a:t>Entwurf</a:t>
            </a:r>
            <a:endParaRPr lang="de-DE" dirty="0"/>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279085" y="319724"/>
            <a:ext cx="6623160" cy="523253"/>
          </a:xfrm>
        </p:spPr>
        <p:txBody>
          <a:bodyPr anchor="b" anchorCtr="0">
            <a:noAutofit/>
          </a:bodyPr>
          <a:lstStyle>
            <a:lvl1pPr marL="0" indent="0">
              <a:buNone/>
              <a:defRPr sz="1800" b="0">
                <a:solidFill>
                  <a:schemeClr val="tx2"/>
                </a:solidFill>
                <a:latin typeface="+mj-lt"/>
              </a:defRPr>
            </a:lvl1pPr>
            <a:lvl2pPr marL="0" indent="0">
              <a:buNone/>
              <a:defRPr sz="1800">
                <a:solidFill>
                  <a:schemeClr val="tx2"/>
                </a:solidFill>
                <a:latin typeface="+mj-lt"/>
              </a:defRPr>
            </a:lvl2pPr>
            <a:lvl3pPr marL="0" indent="0">
              <a:buNone/>
              <a:defRPr sz="1800">
                <a:solidFill>
                  <a:schemeClr val="tx2"/>
                </a:solidFill>
                <a:latin typeface="+mj-lt"/>
              </a:defRPr>
            </a:lvl3pPr>
            <a:lvl4pPr marL="0" indent="0">
              <a:buNone/>
              <a:defRPr sz="1800">
                <a:solidFill>
                  <a:schemeClr val="tx2"/>
                </a:solidFill>
                <a:latin typeface="+mj-lt"/>
              </a:defRPr>
            </a:lvl4pPr>
            <a:lvl5pPr marL="0" indent="0">
              <a:buNone/>
              <a:defRPr sz="18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292698" y="1200149"/>
            <a:ext cx="8681317" cy="117981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35494" y="111741"/>
            <a:ext cx="1875846" cy="694445"/>
          </a:xfrm>
          <a:prstGeom prst="rect">
            <a:avLst/>
          </a:prstGeom>
        </p:spPr>
      </p:pic>
    </p:spTree>
    <p:extLst>
      <p:ext uri="{BB962C8B-B14F-4D97-AF65-F5344CB8AC3E}">
        <p14:creationId xmlns:p14="http://schemas.microsoft.com/office/powerpoint/2010/main" val="352075104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Fakt, Titel, Text">
    <p:spTree>
      <p:nvGrpSpPr>
        <p:cNvPr id="1" name=""/>
        <p:cNvGrpSpPr/>
        <p:nvPr/>
      </p:nvGrpSpPr>
      <p:grpSpPr>
        <a:xfrm>
          <a:off x="0" y="0"/>
          <a:ext cx="0" cy="0"/>
          <a:chOff x="0" y="0"/>
          <a:chExt cx="0" cy="0"/>
        </a:xfrm>
      </p:grpSpPr>
      <p:sp>
        <p:nvSpPr>
          <p:cNvPr id="9" name="Rechteck 8"/>
          <p:cNvSpPr/>
          <p:nvPr userDrawn="1"/>
        </p:nvSpPr>
        <p:spPr>
          <a:xfrm>
            <a:off x="0" y="0"/>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smtClean="0">
              <a:solidFill>
                <a:schemeClr val="tx1"/>
              </a:solidFill>
            </a:endParaRPr>
          </a:p>
        </p:txBody>
      </p:sp>
      <p:sp>
        <p:nvSpPr>
          <p:cNvPr id="2" name="Titel 1"/>
          <p:cNvSpPr>
            <a:spLocks noGrp="1"/>
          </p:cNvSpPr>
          <p:nvPr>
            <p:ph type="title" hasCustomPrompt="1"/>
          </p:nvPr>
        </p:nvSpPr>
        <p:spPr>
          <a:xfrm>
            <a:off x="278957" y="107395"/>
            <a:ext cx="6614724" cy="161583"/>
          </a:xfrm>
        </p:spPr>
        <p:txBody>
          <a:bodyPr/>
          <a:lstStyle>
            <a:lvl1pPr>
              <a:defRPr sz="1050">
                <a:solidFill>
                  <a:schemeClr val="tx2"/>
                </a:solidFill>
              </a:defRPr>
            </a:lvl1pPr>
          </a:lstStyle>
          <a:p>
            <a:r>
              <a:rPr lang="de-DE" dirty="0" smtClean="0"/>
              <a:t>Fakt ist X. Y muss getan werden.</a:t>
            </a:r>
            <a:endParaRPr lang="de-DE" dirty="0"/>
          </a:p>
        </p:txBody>
      </p:sp>
      <p:sp>
        <p:nvSpPr>
          <p:cNvPr id="3" name="Datumsplatzhalter 2"/>
          <p:cNvSpPr>
            <a:spLocks noGrp="1"/>
          </p:cNvSpPr>
          <p:nvPr>
            <p:ph type="dt" sz="half" idx="10"/>
          </p:nvPr>
        </p:nvSpPr>
        <p:spPr>
          <a:xfrm>
            <a:off x="292704" y="5016754"/>
            <a:ext cx="936228" cy="126746"/>
          </a:xfrm>
        </p:spPr>
        <p:txBody>
          <a:bodyPr/>
          <a:lstStyle/>
          <a:p>
            <a:fld id="{CF4E8803-761A-423F-920A-7DEB27B16F30}" type="datetime1">
              <a:rPr lang="de-DE" smtClean="0"/>
              <a:pPr/>
              <a:t>22.04.2018</a:t>
            </a:fld>
            <a:endParaRPr lang="de-DE"/>
          </a:p>
        </p:txBody>
      </p:sp>
      <p:sp>
        <p:nvSpPr>
          <p:cNvPr id="4" name="Fußzeilenplatzhalter 3"/>
          <p:cNvSpPr>
            <a:spLocks noGrp="1"/>
          </p:cNvSpPr>
          <p:nvPr>
            <p:ph type="ftr" sz="quarter" idx="11"/>
          </p:nvPr>
        </p:nvSpPr>
        <p:spPr>
          <a:xfrm>
            <a:off x="292699" y="4822738"/>
            <a:ext cx="7954486" cy="149327"/>
          </a:xfrm>
        </p:spPr>
        <p:txBody>
          <a:bodyPr/>
          <a:lstStyle>
            <a:lvl1pPr algn="l">
              <a:defRPr/>
            </a:lvl1pPr>
          </a:lstStyle>
          <a:p>
            <a:r>
              <a:rPr lang="de-DE" dirty="0" smtClean="0"/>
              <a:t>Entwurf</a:t>
            </a:r>
            <a:endParaRPr lang="de-DE" dirty="0"/>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279085" y="319724"/>
            <a:ext cx="6623160" cy="523253"/>
          </a:xfrm>
        </p:spPr>
        <p:txBody>
          <a:bodyPr anchor="b" anchorCtr="0">
            <a:noAutofit/>
          </a:bodyPr>
          <a:lstStyle>
            <a:lvl1pPr marL="0" indent="0">
              <a:buNone/>
              <a:defRPr sz="1800" b="0">
                <a:solidFill>
                  <a:schemeClr val="tx2"/>
                </a:solidFill>
                <a:latin typeface="+mj-lt"/>
              </a:defRPr>
            </a:lvl1pPr>
            <a:lvl2pPr marL="0" indent="0">
              <a:buNone/>
              <a:defRPr sz="1800">
                <a:solidFill>
                  <a:schemeClr val="tx2"/>
                </a:solidFill>
                <a:latin typeface="+mj-lt"/>
              </a:defRPr>
            </a:lvl2pPr>
            <a:lvl3pPr marL="0" indent="0">
              <a:buNone/>
              <a:defRPr sz="1800">
                <a:solidFill>
                  <a:schemeClr val="tx2"/>
                </a:solidFill>
                <a:latin typeface="+mj-lt"/>
              </a:defRPr>
            </a:lvl3pPr>
            <a:lvl4pPr marL="0" indent="0">
              <a:buNone/>
              <a:defRPr sz="1800">
                <a:solidFill>
                  <a:schemeClr val="tx2"/>
                </a:solidFill>
                <a:latin typeface="+mj-lt"/>
              </a:defRPr>
            </a:lvl4pPr>
            <a:lvl5pPr marL="0" indent="0">
              <a:buNone/>
              <a:defRPr sz="18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292698" y="1200149"/>
            <a:ext cx="8681317" cy="117981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35494" y="111741"/>
            <a:ext cx="1875846" cy="694445"/>
          </a:xfrm>
          <a:prstGeom prst="rect">
            <a:avLst/>
          </a:prstGeom>
        </p:spPr>
      </p:pic>
    </p:spTree>
    <p:extLst>
      <p:ext uri="{BB962C8B-B14F-4D97-AF65-F5344CB8AC3E}">
        <p14:creationId xmlns:p14="http://schemas.microsoft.com/office/powerpoint/2010/main" val="427556323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7_Fakt, Titel, Text">
    <p:spTree>
      <p:nvGrpSpPr>
        <p:cNvPr id="1" name=""/>
        <p:cNvGrpSpPr/>
        <p:nvPr/>
      </p:nvGrpSpPr>
      <p:grpSpPr>
        <a:xfrm>
          <a:off x="0" y="0"/>
          <a:ext cx="0" cy="0"/>
          <a:chOff x="0" y="0"/>
          <a:chExt cx="0" cy="0"/>
        </a:xfrm>
      </p:grpSpPr>
      <p:sp>
        <p:nvSpPr>
          <p:cNvPr id="9" name="Rechteck 8"/>
          <p:cNvSpPr/>
          <p:nvPr userDrawn="1"/>
        </p:nvSpPr>
        <p:spPr>
          <a:xfrm>
            <a:off x="0" y="0"/>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smtClean="0">
              <a:solidFill>
                <a:schemeClr val="tx1"/>
              </a:solidFill>
            </a:endParaRPr>
          </a:p>
        </p:txBody>
      </p:sp>
      <p:sp>
        <p:nvSpPr>
          <p:cNvPr id="2" name="Titel 1"/>
          <p:cNvSpPr>
            <a:spLocks noGrp="1"/>
          </p:cNvSpPr>
          <p:nvPr>
            <p:ph type="title" hasCustomPrompt="1"/>
          </p:nvPr>
        </p:nvSpPr>
        <p:spPr>
          <a:xfrm>
            <a:off x="278957" y="107395"/>
            <a:ext cx="6614724" cy="161583"/>
          </a:xfrm>
        </p:spPr>
        <p:txBody>
          <a:bodyPr/>
          <a:lstStyle>
            <a:lvl1pPr>
              <a:defRPr sz="1050">
                <a:solidFill>
                  <a:schemeClr val="tx2"/>
                </a:solidFill>
              </a:defRPr>
            </a:lvl1pPr>
          </a:lstStyle>
          <a:p>
            <a:r>
              <a:rPr lang="de-DE" dirty="0" smtClean="0"/>
              <a:t>Fakt ist X. Y muss getan werden.</a:t>
            </a:r>
            <a:endParaRPr lang="de-DE" dirty="0"/>
          </a:p>
        </p:txBody>
      </p:sp>
      <p:sp>
        <p:nvSpPr>
          <p:cNvPr id="3" name="Datumsplatzhalter 2"/>
          <p:cNvSpPr>
            <a:spLocks noGrp="1"/>
          </p:cNvSpPr>
          <p:nvPr>
            <p:ph type="dt" sz="half" idx="10"/>
          </p:nvPr>
        </p:nvSpPr>
        <p:spPr>
          <a:xfrm>
            <a:off x="292704" y="5016754"/>
            <a:ext cx="936228" cy="126746"/>
          </a:xfrm>
        </p:spPr>
        <p:txBody>
          <a:bodyPr/>
          <a:lstStyle/>
          <a:p>
            <a:fld id="{CF4E8803-761A-423F-920A-7DEB27B16F30}" type="datetime1">
              <a:rPr lang="de-DE" smtClean="0"/>
              <a:pPr/>
              <a:t>22.04.2018</a:t>
            </a:fld>
            <a:endParaRPr lang="de-DE"/>
          </a:p>
        </p:txBody>
      </p:sp>
      <p:sp>
        <p:nvSpPr>
          <p:cNvPr id="4" name="Fußzeilenplatzhalter 3"/>
          <p:cNvSpPr>
            <a:spLocks noGrp="1"/>
          </p:cNvSpPr>
          <p:nvPr>
            <p:ph type="ftr" sz="quarter" idx="11"/>
          </p:nvPr>
        </p:nvSpPr>
        <p:spPr>
          <a:xfrm>
            <a:off x="292699" y="4822738"/>
            <a:ext cx="7954486" cy="149327"/>
          </a:xfrm>
        </p:spPr>
        <p:txBody>
          <a:bodyPr/>
          <a:lstStyle>
            <a:lvl1pPr algn="l">
              <a:defRPr/>
            </a:lvl1pPr>
          </a:lstStyle>
          <a:p>
            <a:r>
              <a:rPr lang="de-DE" dirty="0" smtClean="0"/>
              <a:t>Entwurf</a:t>
            </a:r>
            <a:endParaRPr lang="de-DE" dirty="0"/>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279085" y="319724"/>
            <a:ext cx="6623160" cy="523253"/>
          </a:xfrm>
        </p:spPr>
        <p:txBody>
          <a:bodyPr anchor="b" anchorCtr="0">
            <a:noAutofit/>
          </a:bodyPr>
          <a:lstStyle>
            <a:lvl1pPr marL="0" indent="0">
              <a:buNone/>
              <a:defRPr sz="1800" b="0">
                <a:solidFill>
                  <a:schemeClr val="tx2"/>
                </a:solidFill>
                <a:latin typeface="+mj-lt"/>
              </a:defRPr>
            </a:lvl1pPr>
            <a:lvl2pPr marL="0" indent="0">
              <a:buNone/>
              <a:defRPr sz="1800">
                <a:solidFill>
                  <a:schemeClr val="tx2"/>
                </a:solidFill>
                <a:latin typeface="+mj-lt"/>
              </a:defRPr>
            </a:lvl2pPr>
            <a:lvl3pPr marL="0" indent="0">
              <a:buNone/>
              <a:defRPr sz="1800">
                <a:solidFill>
                  <a:schemeClr val="tx2"/>
                </a:solidFill>
                <a:latin typeface="+mj-lt"/>
              </a:defRPr>
            </a:lvl3pPr>
            <a:lvl4pPr marL="0" indent="0">
              <a:buNone/>
              <a:defRPr sz="1800">
                <a:solidFill>
                  <a:schemeClr val="tx2"/>
                </a:solidFill>
                <a:latin typeface="+mj-lt"/>
              </a:defRPr>
            </a:lvl4pPr>
            <a:lvl5pPr marL="0" indent="0">
              <a:buNone/>
              <a:defRPr sz="18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292698" y="1200149"/>
            <a:ext cx="8681317" cy="117981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35494" y="111741"/>
            <a:ext cx="1875846" cy="694445"/>
          </a:xfrm>
          <a:prstGeom prst="rect">
            <a:avLst/>
          </a:prstGeom>
        </p:spPr>
      </p:pic>
    </p:spTree>
    <p:extLst>
      <p:ext uri="{BB962C8B-B14F-4D97-AF65-F5344CB8AC3E}">
        <p14:creationId xmlns:p14="http://schemas.microsoft.com/office/powerpoint/2010/main" val="406900323"/>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Zwischen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96747898"/>
              </p:ext>
            </p:extLst>
          </p:nvPr>
        </p:nvGraphicFramePr>
        <p:xfrm>
          <a:off x="0" y="2"/>
          <a:ext cx="146538" cy="119063"/>
        </p:xfrm>
        <a:graphic>
          <a:graphicData uri="http://schemas.openxmlformats.org/presentationml/2006/ole">
            <mc:AlternateContent xmlns:mc="http://schemas.openxmlformats.org/markup-compatibility/2006">
              <mc:Choice xmlns:v="urn:schemas-microsoft-com:vml" Requires="v">
                <p:oleObj spid="_x0000_s81671" name="think-cell Folie" r:id="rId5" imgW="341" imgH="340" progId="TCLayout.ActiveDocument.1">
                  <p:embed/>
                </p:oleObj>
              </mc:Choice>
              <mc:Fallback>
                <p:oleObj name="think-cell Folie" r:id="rId5" imgW="341" imgH="340" progId="TCLayout.ActiveDocument.1">
                  <p:embed/>
                  <p:pic>
                    <p:nvPicPr>
                      <p:cNvPr id="0" name=""/>
                      <p:cNvPicPr/>
                      <p:nvPr/>
                    </p:nvPicPr>
                    <p:blipFill>
                      <a:blip r:embed="rId6"/>
                      <a:stretch>
                        <a:fillRect/>
                      </a:stretch>
                    </p:blipFill>
                    <p:spPr>
                      <a:xfrm>
                        <a:off x="0" y="2"/>
                        <a:ext cx="146538" cy="119063"/>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179400" y="2350493"/>
            <a:ext cx="8785225" cy="307777"/>
          </a:xfrm>
        </p:spPr>
        <p:txBody>
          <a:bodyPr/>
          <a:lstStyle>
            <a:lvl1pPr algn="ctr">
              <a:defRPr sz="2000" b="1" baseline="0">
                <a:solidFill>
                  <a:schemeClr val="tx2"/>
                </a:solidFill>
              </a:defRPr>
            </a:lvl1pPr>
          </a:lstStyle>
          <a:p>
            <a:r>
              <a:rPr lang="de-DE" dirty="0" smtClean="0"/>
              <a:t>Text Zwischenblatt</a:t>
            </a:r>
            <a:endParaRPr lang="de-DE" dirty="0"/>
          </a:p>
        </p:txBody>
      </p:sp>
      <p:sp>
        <p:nvSpPr>
          <p:cNvPr id="8" name="Datumsplatzhalter 2"/>
          <p:cNvSpPr>
            <a:spLocks noGrp="1"/>
          </p:cNvSpPr>
          <p:nvPr>
            <p:ph type="dt" sz="half" idx="10"/>
          </p:nvPr>
        </p:nvSpPr>
        <p:spPr>
          <a:xfrm>
            <a:off x="292704" y="5016754"/>
            <a:ext cx="936228" cy="126746"/>
          </a:xfrm>
        </p:spPr>
        <p:txBody>
          <a:bodyPr/>
          <a:lstStyle/>
          <a:p>
            <a:fld id="{CF4E8803-761A-423F-920A-7DEB27B16F30}" type="datetime1">
              <a:rPr lang="de-DE" smtClean="0"/>
              <a:pPr/>
              <a:t>22.04.2018</a:t>
            </a:fld>
            <a:endParaRPr lang="de-DE"/>
          </a:p>
        </p:txBody>
      </p:sp>
      <p:sp>
        <p:nvSpPr>
          <p:cNvPr id="9" name="Fußzeilenplatzhalter 3"/>
          <p:cNvSpPr>
            <a:spLocks noGrp="1"/>
          </p:cNvSpPr>
          <p:nvPr>
            <p:ph type="ftr" sz="quarter" idx="11"/>
          </p:nvPr>
        </p:nvSpPr>
        <p:spPr>
          <a:xfrm>
            <a:off x="292699" y="4822740"/>
            <a:ext cx="7954486" cy="149327"/>
          </a:xfrm>
        </p:spPr>
        <p:txBody>
          <a:bodyPr/>
          <a:lstStyle>
            <a:lvl1pPr algn="l">
              <a:defRPr/>
            </a:lvl1pPr>
          </a:lstStyle>
          <a:p>
            <a:r>
              <a:rPr lang="de-DE" dirty="0" smtClean="0"/>
              <a:t>Entwurf</a:t>
            </a:r>
            <a:endParaRPr lang="de-DE" dirty="0"/>
          </a:p>
        </p:txBody>
      </p:sp>
      <p:sp>
        <p:nvSpPr>
          <p:cNvPr id="10" name="Foliennummernplatzhalter 4"/>
          <p:cNvSpPr>
            <a:spLocks noGrp="1"/>
          </p:cNvSpPr>
          <p:nvPr>
            <p:ph type="sldNum" sz="quarter" idx="12"/>
          </p:nvPr>
        </p:nvSpPr>
        <p:spPr>
          <a:xfrm>
            <a:off x="8244408" y="4994609"/>
            <a:ext cx="714380" cy="125373"/>
          </a:xfrm>
        </p:spPr>
        <p:txBody>
          <a:bodyPr/>
          <a:lstStyle/>
          <a:p>
            <a:fld id="{4AD1E780-DE1C-4ECA-B5E5-863D0BC53287}" type="slidenum">
              <a:rPr lang="de-DE" smtClean="0"/>
              <a:pPr/>
              <a:t>‹#›</a:t>
            </a:fld>
            <a:endParaRPr lang="de-DE" dirty="0"/>
          </a:p>
        </p:txBody>
      </p:sp>
    </p:spTree>
    <p:extLst>
      <p:ext uri="{BB962C8B-B14F-4D97-AF65-F5344CB8AC3E}">
        <p14:creationId xmlns:p14="http://schemas.microsoft.com/office/powerpoint/2010/main" val="411190467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akt, Titel, Text">
    <p:spTree>
      <p:nvGrpSpPr>
        <p:cNvPr id="1" name=""/>
        <p:cNvGrpSpPr/>
        <p:nvPr/>
      </p:nvGrpSpPr>
      <p:grpSpPr>
        <a:xfrm>
          <a:off x="0" y="0"/>
          <a:ext cx="0" cy="0"/>
          <a:chOff x="0" y="0"/>
          <a:chExt cx="0" cy="0"/>
        </a:xfrm>
      </p:grpSpPr>
      <p:sp>
        <p:nvSpPr>
          <p:cNvPr id="9" name="Rechteck 8"/>
          <p:cNvSpPr/>
          <p:nvPr userDrawn="1"/>
        </p:nvSpPr>
        <p:spPr>
          <a:xfrm>
            <a:off x="0" y="2"/>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smtClean="0">
              <a:solidFill>
                <a:schemeClr val="tx1"/>
              </a:solidFill>
            </a:endParaRPr>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279085" y="319726"/>
            <a:ext cx="6623160" cy="523253"/>
          </a:xfrm>
        </p:spPr>
        <p:txBody>
          <a:bodyPr anchor="b" anchorCtr="0">
            <a:noAutofit/>
          </a:bodyPr>
          <a:lstStyle>
            <a:lvl1pPr marL="0" indent="0">
              <a:buNone/>
              <a:defRPr sz="2000" b="0">
                <a:solidFill>
                  <a:schemeClr val="tx2"/>
                </a:solidFill>
                <a:latin typeface="+mj-lt"/>
              </a:defRPr>
            </a:lvl1pPr>
            <a:lvl2pPr marL="0" indent="0">
              <a:buNone/>
              <a:defRPr sz="2000">
                <a:solidFill>
                  <a:schemeClr val="tx2"/>
                </a:solidFill>
                <a:latin typeface="+mj-lt"/>
              </a:defRPr>
            </a:lvl2pPr>
            <a:lvl3pPr marL="0" indent="0">
              <a:buNone/>
              <a:defRPr sz="2000">
                <a:solidFill>
                  <a:schemeClr val="tx2"/>
                </a:solidFill>
                <a:latin typeface="+mj-lt"/>
              </a:defRPr>
            </a:lvl3pPr>
            <a:lvl4pPr marL="0" indent="0">
              <a:buNone/>
              <a:defRPr sz="2000">
                <a:solidFill>
                  <a:schemeClr val="tx2"/>
                </a:solidFill>
                <a:latin typeface="+mj-lt"/>
              </a:defRPr>
            </a:lvl4pPr>
            <a:lvl5pPr marL="0" indent="0">
              <a:buNone/>
              <a:defRPr sz="20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292698" y="1200149"/>
            <a:ext cx="8681317" cy="117981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Rechteck 9"/>
          <p:cNvSpPr/>
          <p:nvPr userDrawn="1"/>
        </p:nvSpPr>
        <p:spPr>
          <a:xfrm>
            <a:off x="284985" y="111727"/>
            <a:ext cx="510069" cy="115416"/>
          </a:xfrm>
          <a:prstGeom prst="rect">
            <a:avLst/>
          </a:prstGeom>
        </p:spPr>
        <p:txBody>
          <a:bodyPr wrap="none" lIns="0" tIns="0" rIns="0" bIns="0">
            <a:noAutofit/>
          </a:bodyPr>
          <a:lstStyle/>
          <a:p>
            <a:r>
              <a:rPr lang="de-DE" sz="700" b="1" i="0" kern="1200" dirty="0" smtClean="0">
                <a:solidFill>
                  <a:schemeClr val="accent6"/>
                </a:solidFill>
                <a:latin typeface="+mn-lt"/>
                <a:ea typeface="+mn-ea"/>
                <a:cs typeface="+mn-cs"/>
              </a:rPr>
              <a:t>@oa2020ini</a:t>
            </a:r>
            <a:endParaRPr lang="de-DE" sz="700" b="1" i="0" dirty="0">
              <a:solidFill>
                <a:schemeClr val="accent6"/>
              </a:solidFill>
            </a:endParaRPr>
          </a:p>
        </p:txBody>
      </p:sp>
      <p:pic>
        <p:nvPicPr>
          <p:cNvPr id="11" name="Grafik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87181" y="111727"/>
            <a:ext cx="1524159" cy="694461"/>
          </a:xfrm>
          <a:prstGeom prst="rect">
            <a:avLst/>
          </a:prstGeom>
        </p:spPr>
      </p:pic>
    </p:spTree>
    <p:extLst>
      <p:ext uri="{BB962C8B-B14F-4D97-AF65-F5344CB8AC3E}">
        <p14:creationId xmlns:p14="http://schemas.microsoft.com/office/powerpoint/2010/main" val="84694818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Fak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17060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9" name="Rechteck 8"/>
          <p:cNvSpPr/>
          <p:nvPr userDrawn="1"/>
        </p:nvSpPr>
        <p:spPr>
          <a:xfrm>
            <a:off x="0" y="2"/>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smtClean="0">
              <a:solidFill>
                <a:schemeClr val="tx1"/>
              </a:solidFill>
            </a:endParaRPr>
          </a:p>
        </p:txBody>
      </p:sp>
      <p:sp>
        <p:nvSpPr>
          <p:cNvPr id="2" name="Titel 1"/>
          <p:cNvSpPr>
            <a:spLocks noGrp="1"/>
          </p:cNvSpPr>
          <p:nvPr>
            <p:ph type="title" hasCustomPrompt="1"/>
          </p:nvPr>
        </p:nvSpPr>
        <p:spPr>
          <a:xfrm>
            <a:off x="293688" y="107410"/>
            <a:ext cx="6678612" cy="215444"/>
          </a:xfrm>
        </p:spPr>
        <p:txBody>
          <a:bodyPr/>
          <a:lstStyle/>
          <a:p>
            <a:r>
              <a:rPr lang="de-DE" dirty="0" smtClean="0"/>
              <a:t>Fakt ist X. Y muss getan werden.</a:t>
            </a:r>
            <a:endParaRPr lang="de-DE" dirty="0"/>
          </a:p>
        </p:txBody>
      </p:sp>
      <p:sp>
        <p:nvSpPr>
          <p:cNvPr id="3" name="Datumsplatzhalter 2"/>
          <p:cNvSpPr>
            <a:spLocks noGrp="1"/>
          </p:cNvSpPr>
          <p:nvPr>
            <p:ph type="dt" sz="half" idx="10"/>
          </p:nvPr>
        </p:nvSpPr>
        <p:spPr>
          <a:xfrm>
            <a:off x="293690" y="4993237"/>
            <a:ext cx="936228" cy="126746"/>
          </a:xfrm>
        </p:spPr>
        <p:txBody>
          <a:bodyPr/>
          <a:lstStyle/>
          <a:p>
            <a:fld id="{CF4E8803-761A-423F-920A-7DEB27B16F30}" type="datetime1">
              <a:rPr lang="de-DE" smtClean="0"/>
              <a:pPr/>
              <a:t>22.04.2018</a:t>
            </a:fld>
            <a:endParaRPr lang="de-DE"/>
          </a:p>
        </p:txBody>
      </p:sp>
      <p:sp>
        <p:nvSpPr>
          <p:cNvPr id="4" name="Fußzeilenplatzhalter 3"/>
          <p:cNvSpPr>
            <a:spLocks noGrp="1"/>
          </p:cNvSpPr>
          <p:nvPr>
            <p:ph type="ftr" sz="quarter" idx="11"/>
          </p:nvPr>
        </p:nvSpPr>
        <p:spPr>
          <a:xfrm>
            <a:off x="293688" y="4793458"/>
            <a:ext cx="7953498" cy="183650"/>
          </a:xfrm>
        </p:spPr>
        <p:txBody>
          <a:bodyPr/>
          <a:lstStyle/>
          <a:p>
            <a:r>
              <a:rPr lang="de-DE" smtClean="0"/>
              <a:t>Entwurf</a:t>
            </a:r>
            <a:endParaRPr lang="de-DE" dirty="0"/>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7" name="Textplatzhalter 9"/>
          <p:cNvSpPr>
            <a:spLocks noGrp="1"/>
          </p:cNvSpPr>
          <p:nvPr>
            <p:ph type="body" sz="quarter" idx="13" hasCustomPrompt="1"/>
            <p:custDataLst>
              <p:tags r:id="rId1"/>
            </p:custDataLst>
          </p:nvPr>
        </p:nvSpPr>
        <p:spPr>
          <a:xfrm>
            <a:off x="293702" y="543105"/>
            <a:ext cx="6687403" cy="307777"/>
          </a:xfrm>
          <a:prstGeom prst="rect">
            <a:avLst/>
          </a:prstGeom>
        </p:spPr>
        <p:txBody>
          <a:bodyPr anchor="b" anchorCtr="0"/>
          <a:lstStyle>
            <a:lvl1pPr marL="0" indent="0">
              <a:buNone/>
              <a:defRPr sz="2000" b="0">
                <a:solidFill>
                  <a:schemeClr val="tx2"/>
                </a:solidFill>
                <a:latin typeface="+mj-lt"/>
              </a:defRPr>
            </a:lvl1pPr>
            <a:lvl2pPr marL="0" indent="0">
              <a:buNone/>
              <a:defRPr sz="2000">
                <a:solidFill>
                  <a:schemeClr val="tx2"/>
                </a:solidFill>
                <a:latin typeface="+mj-lt"/>
              </a:defRPr>
            </a:lvl2pPr>
            <a:lvl3pPr marL="0" indent="0">
              <a:buNone/>
              <a:defRPr sz="2000">
                <a:solidFill>
                  <a:schemeClr val="tx2"/>
                </a:solidFill>
                <a:latin typeface="+mj-lt"/>
              </a:defRPr>
            </a:lvl3pPr>
            <a:lvl4pPr marL="0" indent="0">
              <a:buNone/>
              <a:defRPr sz="2000">
                <a:solidFill>
                  <a:schemeClr val="tx2"/>
                </a:solidFill>
                <a:latin typeface="+mj-lt"/>
              </a:defRPr>
            </a:lvl4pPr>
            <a:lvl5pPr marL="0" indent="0">
              <a:buNone/>
              <a:defRPr sz="2000">
                <a:solidFill>
                  <a:schemeClr val="tx2"/>
                </a:solidFill>
                <a:latin typeface="+mj-lt"/>
              </a:defRPr>
            </a:lvl5pPr>
          </a:lstStyle>
          <a:p>
            <a:pPr lvl="0"/>
            <a:r>
              <a:rPr lang="de-DE" dirty="0" smtClean="0"/>
              <a:t>Agenda</a:t>
            </a:r>
            <a:endParaRPr lang="de-DE" dirty="0"/>
          </a:p>
        </p:txBody>
      </p:sp>
      <p:sp>
        <p:nvSpPr>
          <p:cNvPr id="11" name="Inhaltsplatzhalter 2"/>
          <p:cNvSpPr>
            <a:spLocks noGrp="1"/>
          </p:cNvSpPr>
          <p:nvPr>
            <p:ph idx="1"/>
            <p:custDataLst>
              <p:tags r:id="rId2"/>
            </p:custDataLst>
          </p:nvPr>
        </p:nvSpPr>
        <p:spPr>
          <a:xfrm>
            <a:off x="292698" y="1200165"/>
            <a:ext cx="8681317" cy="2090316"/>
          </a:xfrm>
          <a:prstGeom prst="rect">
            <a:avLst/>
          </a:prstGeom>
        </p:spPr>
        <p:txBody>
          <a:bodyPr/>
          <a:lstStyle>
            <a:lvl1pPr>
              <a:lnSpc>
                <a:spcPts val="3068"/>
              </a:lnSpc>
              <a:defRPr sz="1700">
                <a:solidFill>
                  <a:schemeClr val="tx2"/>
                </a:solidFill>
              </a:defRPr>
            </a:lvl1pPr>
            <a:lvl2pPr>
              <a:lnSpc>
                <a:spcPts val="3068"/>
              </a:lnSpc>
              <a:defRPr sz="1700">
                <a:solidFill>
                  <a:schemeClr val="tx2"/>
                </a:solidFill>
              </a:defRPr>
            </a:lvl2pPr>
            <a:lvl3pPr>
              <a:lnSpc>
                <a:spcPts val="3068"/>
              </a:lnSpc>
              <a:defRPr sz="1700">
                <a:solidFill>
                  <a:schemeClr val="tx2"/>
                </a:solidFill>
              </a:defRPr>
            </a:lvl3pPr>
            <a:lvl4pPr>
              <a:lnSpc>
                <a:spcPts val="3068"/>
              </a:lnSpc>
              <a:defRPr sz="1700">
                <a:solidFill>
                  <a:schemeClr val="tx2"/>
                </a:solidFill>
              </a:defRPr>
            </a:lvl4pPr>
            <a:lvl5pPr>
              <a:lnSpc>
                <a:spcPts val="3068"/>
              </a:lnSpc>
              <a:defRPr sz="1700">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12" name="Grafik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87181" y="111727"/>
            <a:ext cx="1524159" cy="694461"/>
          </a:xfrm>
          <a:prstGeom prst="rect">
            <a:avLst/>
          </a:prstGeom>
        </p:spPr>
      </p:pic>
    </p:spTree>
    <p:extLst>
      <p:ext uri="{BB962C8B-B14F-4D97-AF65-F5344CB8AC3E}">
        <p14:creationId xmlns:p14="http://schemas.microsoft.com/office/powerpoint/2010/main" val="211800223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Fakt, Titel, Text">
    <p:spTree>
      <p:nvGrpSpPr>
        <p:cNvPr id="1" name=""/>
        <p:cNvGrpSpPr/>
        <p:nvPr/>
      </p:nvGrpSpPr>
      <p:grpSpPr>
        <a:xfrm>
          <a:off x="0" y="0"/>
          <a:ext cx="0" cy="0"/>
          <a:chOff x="0" y="0"/>
          <a:chExt cx="0" cy="0"/>
        </a:xfrm>
      </p:grpSpPr>
      <p:sp>
        <p:nvSpPr>
          <p:cNvPr id="9" name="Rechteck 8"/>
          <p:cNvSpPr/>
          <p:nvPr userDrawn="1"/>
        </p:nvSpPr>
        <p:spPr>
          <a:xfrm>
            <a:off x="0" y="0"/>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smtClean="0">
              <a:solidFill>
                <a:schemeClr val="tx1"/>
              </a:solidFill>
            </a:endParaRPr>
          </a:p>
        </p:txBody>
      </p:sp>
      <p:sp>
        <p:nvSpPr>
          <p:cNvPr id="2" name="Titel 1"/>
          <p:cNvSpPr>
            <a:spLocks noGrp="1"/>
          </p:cNvSpPr>
          <p:nvPr>
            <p:ph type="title" hasCustomPrompt="1"/>
          </p:nvPr>
        </p:nvSpPr>
        <p:spPr>
          <a:xfrm>
            <a:off x="278957" y="107395"/>
            <a:ext cx="6614724" cy="161583"/>
          </a:xfrm>
        </p:spPr>
        <p:txBody>
          <a:bodyPr/>
          <a:lstStyle>
            <a:lvl1pPr>
              <a:defRPr sz="1050">
                <a:solidFill>
                  <a:schemeClr val="tx2"/>
                </a:solidFill>
              </a:defRPr>
            </a:lvl1pPr>
          </a:lstStyle>
          <a:p>
            <a:r>
              <a:rPr lang="de-DE" dirty="0" smtClean="0"/>
              <a:t>Fakt ist X. Y muss getan werden.</a:t>
            </a:r>
            <a:endParaRPr lang="de-DE" dirty="0"/>
          </a:p>
        </p:txBody>
      </p:sp>
      <p:sp>
        <p:nvSpPr>
          <p:cNvPr id="3" name="Datumsplatzhalter 2"/>
          <p:cNvSpPr>
            <a:spLocks noGrp="1"/>
          </p:cNvSpPr>
          <p:nvPr>
            <p:ph type="dt" sz="half" idx="10"/>
          </p:nvPr>
        </p:nvSpPr>
        <p:spPr>
          <a:xfrm>
            <a:off x="292704" y="5016754"/>
            <a:ext cx="936228" cy="126746"/>
          </a:xfrm>
        </p:spPr>
        <p:txBody>
          <a:bodyPr/>
          <a:lstStyle/>
          <a:p>
            <a:fld id="{CF4E8803-761A-423F-920A-7DEB27B16F30}" type="datetime1">
              <a:rPr lang="de-DE" smtClean="0"/>
              <a:pPr/>
              <a:t>22.04.2018</a:t>
            </a:fld>
            <a:endParaRPr lang="de-DE"/>
          </a:p>
        </p:txBody>
      </p:sp>
      <p:sp>
        <p:nvSpPr>
          <p:cNvPr id="4" name="Fußzeilenplatzhalter 3"/>
          <p:cNvSpPr>
            <a:spLocks noGrp="1"/>
          </p:cNvSpPr>
          <p:nvPr>
            <p:ph type="ftr" sz="quarter" idx="11"/>
          </p:nvPr>
        </p:nvSpPr>
        <p:spPr>
          <a:xfrm>
            <a:off x="292699" y="4822738"/>
            <a:ext cx="7954486" cy="149327"/>
          </a:xfrm>
        </p:spPr>
        <p:txBody>
          <a:bodyPr/>
          <a:lstStyle>
            <a:lvl1pPr algn="l">
              <a:defRPr/>
            </a:lvl1pPr>
          </a:lstStyle>
          <a:p>
            <a:r>
              <a:rPr lang="de-DE" dirty="0" smtClean="0"/>
              <a:t>Entwurf</a:t>
            </a:r>
            <a:endParaRPr lang="de-DE" dirty="0"/>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279085" y="319724"/>
            <a:ext cx="6623160" cy="523253"/>
          </a:xfrm>
        </p:spPr>
        <p:txBody>
          <a:bodyPr anchor="b" anchorCtr="0">
            <a:noAutofit/>
          </a:bodyPr>
          <a:lstStyle>
            <a:lvl1pPr marL="0" indent="0">
              <a:buNone/>
              <a:defRPr sz="1800" b="0">
                <a:solidFill>
                  <a:schemeClr val="tx2"/>
                </a:solidFill>
                <a:latin typeface="+mj-lt"/>
              </a:defRPr>
            </a:lvl1pPr>
            <a:lvl2pPr marL="0" indent="0">
              <a:buNone/>
              <a:defRPr sz="1800">
                <a:solidFill>
                  <a:schemeClr val="tx2"/>
                </a:solidFill>
                <a:latin typeface="+mj-lt"/>
              </a:defRPr>
            </a:lvl2pPr>
            <a:lvl3pPr marL="0" indent="0">
              <a:buNone/>
              <a:defRPr sz="1800">
                <a:solidFill>
                  <a:schemeClr val="tx2"/>
                </a:solidFill>
                <a:latin typeface="+mj-lt"/>
              </a:defRPr>
            </a:lvl3pPr>
            <a:lvl4pPr marL="0" indent="0">
              <a:buNone/>
              <a:defRPr sz="1800">
                <a:solidFill>
                  <a:schemeClr val="tx2"/>
                </a:solidFill>
                <a:latin typeface="+mj-lt"/>
              </a:defRPr>
            </a:lvl4pPr>
            <a:lvl5pPr marL="0" indent="0">
              <a:buNone/>
              <a:defRPr sz="18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292698" y="1200149"/>
            <a:ext cx="8681317" cy="117981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35494" y="111741"/>
            <a:ext cx="1875846" cy="694445"/>
          </a:xfrm>
          <a:prstGeom prst="rect">
            <a:avLst/>
          </a:prstGeom>
        </p:spPr>
      </p:pic>
    </p:spTree>
    <p:extLst>
      <p:ext uri="{BB962C8B-B14F-4D97-AF65-F5344CB8AC3E}">
        <p14:creationId xmlns:p14="http://schemas.microsoft.com/office/powerpoint/2010/main" val="41671012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Fakt, Titel, Text">
    <p:spTree>
      <p:nvGrpSpPr>
        <p:cNvPr id="1" name=""/>
        <p:cNvGrpSpPr/>
        <p:nvPr/>
      </p:nvGrpSpPr>
      <p:grpSpPr>
        <a:xfrm>
          <a:off x="0" y="0"/>
          <a:ext cx="0" cy="0"/>
          <a:chOff x="0" y="0"/>
          <a:chExt cx="0" cy="0"/>
        </a:xfrm>
      </p:grpSpPr>
      <p:sp>
        <p:nvSpPr>
          <p:cNvPr id="9" name="Rechteck 8"/>
          <p:cNvSpPr/>
          <p:nvPr userDrawn="1"/>
        </p:nvSpPr>
        <p:spPr>
          <a:xfrm>
            <a:off x="0" y="0"/>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smtClean="0">
              <a:solidFill>
                <a:schemeClr val="tx1"/>
              </a:solidFill>
            </a:endParaRPr>
          </a:p>
        </p:txBody>
      </p:sp>
      <p:sp>
        <p:nvSpPr>
          <p:cNvPr id="2" name="Titel 1"/>
          <p:cNvSpPr>
            <a:spLocks noGrp="1"/>
          </p:cNvSpPr>
          <p:nvPr>
            <p:ph type="title" hasCustomPrompt="1"/>
          </p:nvPr>
        </p:nvSpPr>
        <p:spPr>
          <a:xfrm>
            <a:off x="278957" y="107395"/>
            <a:ext cx="6614724" cy="161583"/>
          </a:xfrm>
        </p:spPr>
        <p:txBody>
          <a:bodyPr/>
          <a:lstStyle>
            <a:lvl1pPr>
              <a:defRPr sz="1050">
                <a:solidFill>
                  <a:schemeClr val="tx2"/>
                </a:solidFill>
              </a:defRPr>
            </a:lvl1pPr>
          </a:lstStyle>
          <a:p>
            <a:r>
              <a:rPr lang="de-DE" dirty="0" smtClean="0"/>
              <a:t>Fakt ist X. Y muss getan werden.</a:t>
            </a:r>
            <a:endParaRPr lang="de-DE" dirty="0"/>
          </a:p>
        </p:txBody>
      </p:sp>
      <p:sp>
        <p:nvSpPr>
          <p:cNvPr id="3" name="Datumsplatzhalter 2"/>
          <p:cNvSpPr>
            <a:spLocks noGrp="1"/>
          </p:cNvSpPr>
          <p:nvPr>
            <p:ph type="dt" sz="half" idx="10"/>
          </p:nvPr>
        </p:nvSpPr>
        <p:spPr>
          <a:xfrm>
            <a:off x="292704" y="5016754"/>
            <a:ext cx="936228" cy="126746"/>
          </a:xfrm>
        </p:spPr>
        <p:txBody>
          <a:bodyPr/>
          <a:lstStyle/>
          <a:p>
            <a:fld id="{CF4E8803-761A-423F-920A-7DEB27B16F30}" type="datetime1">
              <a:rPr lang="de-DE" smtClean="0"/>
              <a:pPr/>
              <a:t>22.04.2018</a:t>
            </a:fld>
            <a:endParaRPr lang="de-DE"/>
          </a:p>
        </p:txBody>
      </p:sp>
      <p:sp>
        <p:nvSpPr>
          <p:cNvPr id="4" name="Fußzeilenplatzhalter 3"/>
          <p:cNvSpPr>
            <a:spLocks noGrp="1"/>
          </p:cNvSpPr>
          <p:nvPr>
            <p:ph type="ftr" sz="quarter" idx="11"/>
          </p:nvPr>
        </p:nvSpPr>
        <p:spPr>
          <a:xfrm>
            <a:off x="292699" y="4822738"/>
            <a:ext cx="7954486" cy="149327"/>
          </a:xfrm>
        </p:spPr>
        <p:txBody>
          <a:bodyPr/>
          <a:lstStyle>
            <a:lvl1pPr algn="l">
              <a:defRPr/>
            </a:lvl1pPr>
          </a:lstStyle>
          <a:p>
            <a:r>
              <a:rPr lang="de-DE" dirty="0" smtClean="0"/>
              <a:t>Entwurf</a:t>
            </a:r>
            <a:endParaRPr lang="de-DE" dirty="0"/>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279085" y="319724"/>
            <a:ext cx="6623160" cy="523253"/>
          </a:xfrm>
        </p:spPr>
        <p:txBody>
          <a:bodyPr anchor="b" anchorCtr="0">
            <a:noAutofit/>
          </a:bodyPr>
          <a:lstStyle>
            <a:lvl1pPr marL="0" indent="0">
              <a:buNone/>
              <a:defRPr sz="1800" b="0">
                <a:solidFill>
                  <a:schemeClr val="tx2"/>
                </a:solidFill>
                <a:latin typeface="+mj-lt"/>
              </a:defRPr>
            </a:lvl1pPr>
            <a:lvl2pPr marL="0" indent="0">
              <a:buNone/>
              <a:defRPr sz="1800">
                <a:solidFill>
                  <a:schemeClr val="tx2"/>
                </a:solidFill>
                <a:latin typeface="+mj-lt"/>
              </a:defRPr>
            </a:lvl2pPr>
            <a:lvl3pPr marL="0" indent="0">
              <a:buNone/>
              <a:defRPr sz="1800">
                <a:solidFill>
                  <a:schemeClr val="tx2"/>
                </a:solidFill>
                <a:latin typeface="+mj-lt"/>
              </a:defRPr>
            </a:lvl3pPr>
            <a:lvl4pPr marL="0" indent="0">
              <a:buNone/>
              <a:defRPr sz="1800">
                <a:solidFill>
                  <a:schemeClr val="tx2"/>
                </a:solidFill>
                <a:latin typeface="+mj-lt"/>
              </a:defRPr>
            </a:lvl4pPr>
            <a:lvl5pPr marL="0" indent="0">
              <a:buNone/>
              <a:defRPr sz="18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292698" y="1200149"/>
            <a:ext cx="8681317" cy="117981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35494" y="111741"/>
            <a:ext cx="1875846" cy="694445"/>
          </a:xfrm>
          <a:prstGeom prst="rect">
            <a:avLst/>
          </a:prstGeom>
        </p:spPr>
      </p:pic>
    </p:spTree>
    <p:extLst>
      <p:ext uri="{BB962C8B-B14F-4D97-AF65-F5344CB8AC3E}">
        <p14:creationId xmlns:p14="http://schemas.microsoft.com/office/powerpoint/2010/main" val="324208931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Fakt, Titel, Text">
    <p:spTree>
      <p:nvGrpSpPr>
        <p:cNvPr id="1" name=""/>
        <p:cNvGrpSpPr/>
        <p:nvPr/>
      </p:nvGrpSpPr>
      <p:grpSpPr>
        <a:xfrm>
          <a:off x="0" y="0"/>
          <a:ext cx="0" cy="0"/>
          <a:chOff x="0" y="0"/>
          <a:chExt cx="0" cy="0"/>
        </a:xfrm>
      </p:grpSpPr>
      <p:sp>
        <p:nvSpPr>
          <p:cNvPr id="9" name="Rechteck 8"/>
          <p:cNvSpPr/>
          <p:nvPr userDrawn="1"/>
        </p:nvSpPr>
        <p:spPr>
          <a:xfrm>
            <a:off x="0" y="0"/>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smtClean="0">
              <a:solidFill>
                <a:schemeClr val="tx1"/>
              </a:solidFill>
            </a:endParaRPr>
          </a:p>
        </p:txBody>
      </p:sp>
      <p:sp>
        <p:nvSpPr>
          <p:cNvPr id="2" name="Titel 1"/>
          <p:cNvSpPr>
            <a:spLocks noGrp="1"/>
          </p:cNvSpPr>
          <p:nvPr>
            <p:ph type="title" hasCustomPrompt="1"/>
          </p:nvPr>
        </p:nvSpPr>
        <p:spPr>
          <a:xfrm>
            <a:off x="278957" y="107395"/>
            <a:ext cx="6614724" cy="161583"/>
          </a:xfrm>
        </p:spPr>
        <p:txBody>
          <a:bodyPr/>
          <a:lstStyle>
            <a:lvl1pPr>
              <a:defRPr sz="1050">
                <a:solidFill>
                  <a:schemeClr val="tx2"/>
                </a:solidFill>
              </a:defRPr>
            </a:lvl1pPr>
          </a:lstStyle>
          <a:p>
            <a:r>
              <a:rPr lang="de-DE" dirty="0" smtClean="0"/>
              <a:t>Fakt ist X. Y muss getan werden.</a:t>
            </a:r>
            <a:endParaRPr lang="de-DE" dirty="0"/>
          </a:p>
        </p:txBody>
      </p:sp>
      <p:sp>
        <p:nvSpPr>
          <p:cNvPr id="3" name="Datumsplatzhalter 2"/>
          <p:cNvSpPr>
            <a:spLocks noGrp="1"/>
          </p:cNvSpPr>
          <p:nvPr>
            <p:ph type="dt" sz="half" idx="10"/>
          </p:nvPr>
        </p:nvSpPr>
        <p:spPr>
          <a:xfrm>
            <a:off x="292704" y="5016754"/>
            <a:ext cx="936228" cy="126746"/>
          </a:xfrm>
        </p:spPr>
        <p:txBody>
          <a:bodyPr/>
          <a:lstStyle/>
          <a:p>
            <a:fld id="{CF4E8803-761A-423F-920A-7DEB27B16F30}" type="datetime1">
              <a:rPr lang="de-DE" smtClean="0"/>
              <a:pPr/>
              <a:t>22.04.2018</a:t>
            </a:fld>
            <a:endParaRPr lang="de-DE"/>
          </a:p>
        </p:txBody>
      </p:sp>
      <p:sp>
        <p:nvSpPr>
          <p:cNvPr id="4" name="Fußzeilenplatzhalter 3"/>
          <p:cNvSpPr>
            <a:spLocks noGrp="1"/>
          </p:cNvSpPr>
          <p:nvPr>
            <p:ph type="ftr" sz="quarter" idx="11"/>
          </p:nvPr>
        </p:nvSpPr>
        <p:spPr>
          <a:xfrm>
            <a:off x="292699" y="4822738"/>
            <a:ext cx="7954486" cy="149327"/>
          </a:xfrm>
        </p:spPr>
        <p:txBody>
          <a:bodyPr/>
          <a:lstStyle>
            <a:lvl1pPr algn="l">
              <a:defRPr/>
            </a:lvl1pPr>
          </a:lstStyle>
          <a:p>
            <a:r>
              <a:rPr lang="de-DE" dirty="0" smtClean="0"/>
              <a:t>Entwurf</a:t>
            </a:r>
            <a:endParaRPr lang="de-DE" dirty="0"/>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279085" y="319724"/>
            <a:ext cx="6623160" cy="523253"/>
          </a:xfrm>
        </p:spPr>
        <p:txBody>
          <a:bodyPr anchor="b" anchorCtr="0">
            <a:noAutofit/>
          </a:bodyPr>
          <a:lstStyle>
            <a:lvl1pPr marL="0" indent="0">
              <a:buNone/>
              <a:defRPr sz="1800" b="0">
                <a:solidFill>
                  <a:schemeClr val="tx2"/>
                </a:solidFill>
                <a:latin typeface="+mj-lt"/>
              </a:defRPr>
            </a:lvl1pPr>
            <a:lvl2pPr marL="0" indent="0">
              <a:buNone/>
              <a:defRPr sz="1800">
                <a:solidFill>
                  <a:schemeClr val="tx2"/>
                </a:solidFill>
                <a:latin typeface="+mj-lt"/>
              </a:defRPr>
            </a:lvl2pPr>
            <a:lvl3pPr marL="0" indent="0">
              <a:buNone/>
              <a:defRPr sz="1800">
                <a:solidFill>
                  <a:schemeClr val="tx2"/>
                </a:solidFill>
                <a:latin typeface="+mj-lt"/>
              </a:defRPr>
            </a:lvl3pPr>
            <a:lvl4pPr marL="0" indent="0">
              <a:buNone/>
              <a:defRPr sz="1800">
                <a:solidFill>
                  <a:schemeClr val="tx2"/>
                </a:solidFill>
                <a:latin typeface="+mj-lt"/>
              </a:defRPr>
            </a:lvl4pPr>
            <a:lvl5pPr marL="0" indent="0">
              <a:buNone/>
              <a:defRPr sz="18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292698" y="1200149"/>
            <a:ext cx="8681317" cy="117981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35494" y="111741"/>
            <a:ext cx="1875846" cy="694445"/>
          </a:xfrm>
          <a:prstGeom prst="rect">
            <a:avLst/>
          </a:prstGeom>
        </p:spPr>
      </p:pic>
    </p:spTree>
    <p:extLst>
      <p:ext uri="{BB962C8B-B14F-4D97-AF65-F5344CB8AC3E}">
        <p14:creationId xmlns:p14="http://schemas.microsoft.com/office/powerpoint/2010/main" val="185002590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Fakt, Titel, Text">
    <p:spTree>
      <p:nvGrpSpPr>
        <p:cNvPr id="1" name=""/>
        <p:cNvGrpSpPr/>
        <p:nvPr/>
      </p:nvGrpSpPr>
      <p:grpSpPr>
        <a:xfrm>
          <a:off x="0" y="0"/>
          <a:ext cx="0" cy="0"/>
          <a:chOff x="0" y="0"/>
          <a:chExt cx="0" cy="0"/>
        </a:xfrm>
      </p:grpSpPr>
      <p:sp>
        <p:nvSpPr>
          <p:cNvPr id="9" name="Rechteck 8"/>
          <p:cNvSpPr/>
          <p:nvPr userDrawn="1"/>
        </p:nvSpPr>
        <p:spPr>
          <a:xfrm>
            <a:off x="0" y="0"/>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smtClean="0">
              <a:solidFill>
                <a:schemeClr val="tx1"/>
              </a:solidFill>
            </a:endParaRPr>
          </a:p>
        </p:txBody>
      </p:sp>
      <p:sp>
        <p:nvSpPr>
          <p:cNvPr id="2" name="Titel 1"/>
          <p:cNvSpPr>
            <a:spLocks noGrp="1"/>
          </p:cNvSpPr>
          <p:nvPr>
            <p:ph type="title" hasCustomPrompt="1"/>
          </p:nvPr>
        </p:nvSpPr>
        <p:spPr>
          <a:xfrm>
            <a:off x="278957" y="107395"/>
            <a:ext cx="6614724" cy="161583"/>
          </a:xfrm>
        </p:spPr>
        <p:txBody>
          <a:bodyPr/>
          <a:lstStyle>
            <a:lvl1pPr>
              <a:defRPr sz="1050">
                <a:solidFill>
                  <a:schemeClr val="tx2"/>
                </a:solidFill>
              </a:defRPr>
            </a:lvl1pPr>
          </a:lstStyle>
          <a:p>
            <a:r>
              <a:rPr lang="de-DE" dirty="0" smtClean="0"/>
              <a:t>Fakt ist X. Y muss getan werden.</a:t>
            </a:r>
            <a:endParaRPr lang="de-DE" dirty="0"/>
          </a:p>
        </p:txBody>
      </p:sp>
      <p:sp>
        <p:nvSpPr>
          <p:cNvPr id="3" name="Datumsplatzhalter 2"/>
          <p:cNvSpPr>
            <a:spLocks noGrp="1"/>
          </p:cNvSpPr>
          <p:nvPr>
            <p:ph type="dt" sz="half" idx="10"/>
          </p:nvPr>
        </p:nvSpPr>
        <p:spPr>
          <a:xfrm>
            <a:off x="292704" y="5016754"/>
            <a:ext cx="936228" cy="126746"/>
          </a:xfrm>
        </p:spPr>
        <p:txBody>
          <a:bodyPr/>
          <a:lstStyle/>
          <a:p>
            <a:fld id="{CF4E8803-761A-423F-920A-7DEB27B16F30}" type="datetime1">
              <a:rPr lang="de-DE" smtClean="0"/>
              <a:pPr/>
              <a:t>22.04.2018</a:t>
            </a:fld>
            <a:endParaRPr lang="de-DE"/>
          </a:p>
        </p:txBody>
      </p:sp>
      <p:sp>
        <p:nvSpPr>
          <p:cNvPr id="4" name="Fußzeilenplatzhalter 3"/>
          <p:cNvSpPr>
            <a:spLocks noGrp="1"/>
          </p:cNvSpPr>
          <p:nvPr>
            <p:ph type="ftr" sz="quarter" idx="11"/>
          </p:nvPr>
        </p:nvSpPr>
        <p:spPr>
          <a:xfrm>
            <a:off x="292699" y="4822738"/>
            <a:ext cx="7954486" cy="149327"/>
          </a:xfrm>
        </p:spPr>
        <p:txBody>
          <a:bodyPr/>
          <a:lstStyle>
            <a:lvl1pPr algn="l">
              <a:defRPr/>
            </a:lvl1pPr>
          </a:lstStyle>
          <a:p>
            <a:r>
              <a:rPr lang="de-DE" dirty="0" smtClean="0"/>
              <a:t>Entwurf</a:t>
            </a:r>
            <a:endParaRPr lang="de-DE" dirty="0"/>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279085" y="319724"/>
            <a:ext cx="6623160" cy="523253"/>
          </a:xfrm>
        </p:spPr>
        <p:txBody>
          <a:bodyPr anchor="b" anchorCtr="0">
            <a:noAutofit/>
          </a:bodyPr>
          <a:lstStyle>
            <a:lvl1pPr marL="0" indent="0">
              <a:buNone/>
              <a:defRPr sz="1800" b="0">
                <a:solidFill>
                  <a:schemeClr val="tx2"/>
                </a:solidFill>
                <a:latin typeface="+mj-lt"/>
              </a:defRPr>
            </a:lvl1pPr>
            <a:lvl2pPr marL="0" indent="0">
              <a:buNone/>
              <a:defRPr sz="1800">
                <a:solidFill>
                  <a:schemeClr val="tx2"/>
                </a:solidFill>
                <a:latin typeface="+mj-lt"/>
              </a:defRPr>
            </a:lvl2pPr>
            <a:lvl3pPr marL="0" indent="0">
              <a:buNone/>
              <a:defRPr sz="1800">
                <a:solidFill>
                  <a:schemeClr val="tx2"/>
                </a:solidFill>
                <a:latin typeface="+mj-lt"/>
              </a:defRPr>
            </a:lvl3pPr>
            <a:lvl4pPr marL="0" indent="0">
              <a:buNone/>
              <a:defRPr sz="1800">
                <a:solidFill>
                  <a:schemeClr val="tx2"/>
                </a:solidFill>
                <a:latin typeface="+mj-lt"/>
              </a:defRPr>
            </a:lvl4pPr>
            <a:lvl5pPr marL="0" indent="0">
              <a:buNone/>
              <a:defRPr sz="1800">
                <a:solidFill>
                  <a:schemeClr val="tx2"/>
                </a:solidFill>
                <a:latin typeface="+mj-lt"/>
              </a:defRPr>
            </a:lvl5pPr>
          </a:lstStyle>
          <a:p>
            <a:pPr lvl="0"/>
            <a:r>
              <a:rPr lang="de-DE" dirty="0" smtClean="0"/>
              <a:t>Beschreibender Titel</a:t>
            </a:r>
            <a:endParaRPr lang="de-DE" dirty="0"/>
          </a:p>
        </p:txBody>
      </p:sp>
      <p:sp>
        <p:nvSpPr>
          <p:cNvPr id="7" name="Inhaltsplatzhalter 2"/>
          <p:cNvSpPr>
            <a:spLocks noGrp="1"/>
          </p:cNvSpPr>
          <p:nvPr>
            <p:ph idx="1"/>
            <p:custDataLst>
              <p:tags r:id="rId2"/>
            </p:custDataLst>
          </p:nvPr>
        </p:nvSpPr>
        <p:spPr>
          <a:xfrm>
            <a:off x="292698" y="1200149"/>
            <a:ext cx="8681317" cy="117981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35494" y="111741"/>
            <a:ext cx="1875846" cy="694445"/>
          </a:xfrm>
          <a:prstGeom prst="rect">
            <a:avLst/>
          </a:prstGeom>
        </p:spPr>
      </p:pic>
    </p:spTree>
    <p:extLst>
      <p:ext uri="{BB962C8B-B14F-4D97-AF65-F5344CB8AC3E}">
        <p14:creationId xmlns:p14="http://schemas.microsoft.com/office/powerpoint/2010/main" val="28972752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5"/>
            </p:custDataLst>
            <p:extLst>
              <p:ext uri="{D42A27DB-BD31-4B8C-83A1-F6EECF244321}">
                <p14:modId xmlns:p14="http://schemas.microsoft.com/office/powerpoint/2010/main" val="982478736"/>
              </p:ext>
            </p:extLst>
          </p:nvPr>
        </p:nvGraphicFramePr>
        <p:xfrm>
          <a:off x="0" y="2"/>
          <a:ext cx="146538" cy="119063"/>
        </p:xfrm>
        <a:graphic>
          <a:graphicData uri="http://schemas.openxmlformats.org/presentationml/2006/ole">
            <mc:AlternateContent xmlns:mc="http://schemas.openxmlformats.org/markup-compatibility/2006">
              <mc:Choice xmlns:v="urn:schemas-microsoft-com:vml" Requires="v">
                <p:oleObj spid="_x0000_s79676" name="think-cell Folie" r:id="rId16" imgW="341" imgH="340" progId="TCLayout.ActiveDocument.1">
                  <p:embed/>
                </p:oleObj>
              </mc:Choice>
              <mc:Fallback>
                <p:oleObj name="think-cell Folie" r:id="rId16" imgW="341" imgH="340" progId="TCLayout.ActiveDocument.1">
                  <p:embed/>
                  <p:pic>
                    <p:nvPicPr>
                      <p:cNvPr id="0" name=""/>
                      <p:cNvPicPr/>
                      <p:nvPr/>
                    </p:nvPicPr>
                    <p:blipFill>
                      <a:blip r:embed="rId17"/>
                      <a:stretch>
                        <a:fillRect/>
                      </a:stretch>
                    </p:blipFill>
                    <p:spPr>
                      <a:xfrm>
                        <a:off x="0" y="2"/>
                        <a:ext cx="146538" cy="119063"/>
                      </a:xfrm>
                      <a:prstGeom prst="rect">
                        <a:avLst/>
                      </a:prstGeom>
                    </p:spPr>
                  </p:pic>
                </p:oleObj>
              </mc:Fallback>
            </mc:AlternateContent>
          </a:graphicData>
        </a:graphic>
      </p:graphicFrame>
      <p:sp>
        <p:nvSpPr>
          <p:cNvPr id="2" name="Titelplatzhalter 1"/>
          <p:cNvSpPr>
            <a:spLocks noGrp="1"/>
          </p:cNvSpPr>
          <p:nvPr>
            <p:ph type="title"/>
          </p:nvPr>
        </p:nvSpPr>
        <p:spPr>
          <a:xfrm>
            <a:off x="179400" y="107410"/>
            <a:ext cx="6918431" cy="215444"/>
          </a:xfrm>
          <a:prstGeom prst="rect">
            <a:avLst/>
          </a:prstGeom>
        </p:spPr>
        <p:txBody>
          <a:bodyPr vert="horz" wrap="square" lIns="0" tIns="0" rIns="0" bIns="0" rtlCol="0" anchor="t">
            <a:spAutoFit/>
          </a:bodyPr>
          <a:lstStyle/>
          <a:p>
            <a:r>
              <a:rPr lang="de-DE" dirty="0" smtClean="0"/>
              <a:t>Fakt ist X. Y muss getan werden.</a:t>
            </a:r>
          </a:p>
        </p:txBody>
      </p:sp>
      <p:sp>
        <p:nvSpPr>
          <p:cNvPr id="3" name="Textplatzhalter 2"/>
          <p:cNvSpPr>
            <a:spLocks noGrp="1"/>
          </p:cNvSpPr>
          <p:nvPr>
            <p:ph type="body" idx="1"/>
          </p:nvPr>
        </p:nvSpPr>
        <p:spPr>
          <a:xfrm>
            <a:off x="179389" y="1200150"/>
            <a:ext cx="8664424" cy="1179810"/>
          </a:xfrm>
          <a:prstGeom prst="rect">
            <a:avLst/>
          </a:prstGeom>
        </p:spPr>
        <p:txBody>
          <a:bodyPr vert="horz" wrap="square" lIns="0" tIns="0" rIns="0" bIns="0" rtlCol="0">
            <a:sp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179389" y="4993237"/>
            <a:ext cx="936228" cy="126746"/>
          </a:xfrm>
          <a:prstGeom prst="rect">
            <a:avLst/>
          </a:prstGeom>
        </p:spPr>
        <p:txBody>
          <a:bodyPr vert="horz" wrap="none" lIns="0" tIns="0" rIns="0" bIns="0" rtlCol="0" anchor="b"/>
          <a:lstStyle>
            <a:lvl1pPr algn="l">
              <a:defRPr sz="700">
                <a:solidFill>
                  <a:schemeClr val="tx1">
                    <a:tint val="75000"/>
                  </a:schemeClr>
                </a:solidFill>
              </a:defRPr>
            </a:lvl1pPr>
          </a:lstStyle>
          <a:p>
            <a:fld id="{CF4E8803-761A-423F-920A-7DEB27B16F30}" type="datetime1">
              <a:rPr lang="de-DE" smtClean="0"/>
              <a:pPr/>
              <a:t>22.04.2018</a:t>
            </a:fld>
            <a:endParaRPr lang="de-DE"/>
          </a:p>
        </p:txBody>
      </p:sp>
      <p:sp>
        <p:nvSpPr>
          <p:cNvPr id="5" name="Fußzeilenplatzhalter 4"/>
          <p:cNvSpPr>
            <a:spLocks noGrp="1"/>
          </p:cNvSpPr>
          <p:nvPr>
            <p:ph type="ftr" sz="quarter" idx="3"/>
          </p:nvPr>
        </p:nvSpPr>
        <p:spPr>
          <a:xfrm>
            <a:off x="179400" y="4793458"/>
            <a:ext cx="8067797" cy="183650"/>
          </a:xfrm>
          <a:prstGeom prst="rect">
            <a:avLst/>
          </a:prstGeom>
        </p:spPr>
        <p:txBody>
          <a:bodyPr vert="horz" wrap="none" lIns="0" tIns="0" rIns="0" bIns="0" rtlCol="0" anchor="b"/>
          <a:lstStyle>
            <a:lvl1pPr algn="l">
              <a:defRPr sz="700">
                <a:solidFill>
                  <a:schemeClr val="tx1">
                    <a:tint val="75000"/>
                  </a:schemeClr>
                </a:solidFill>
              </a:defRPr>
            </a:lvl1pPr>
          </a:lstStyle>
          <a:p>
            <a:r>
              <a:rPr lang="de-DE" dirty="0" smtClean="0"/>
              <a:t>Entwurf</a:t>
            </a:r>
            <a:endParaRPr lang="de-DE" dirty="0"/>
          </a:p>
        </p:txBody>
      </p:sp>
      <p:sp>
        <p:nvSpPr>
          <p:cNvPr id="6" name="Foliennummernplatzhalter 5"/>
          <p:cNvSpPr>
            <a:spLocks noGrp="1"/>
          </p:cNvSpPr>
          <p:nvPr>
            <p:ph type="sldNum" sz="quarter" idx="4"/>
          </p:nvPr>
        </p:nvSpPr>
        <p:spPr>
          <a:xfrm>
            <a:off x="8244408" y="4994609"/>
            <a:ext cx="714380" cy="125373"/>
          </a:xfrm>
          <a:prstGeom prst="rect">
            <a:avLst/>
          </a:prstGeom>
        </p:spPr>
        <p:txBody>
          <a:bodyPr vert="horz" wrap="none" lIns="0" tIns="0" rIns="0" bIns="0" rtlCol="0" anchor="b"/>
          <a:lstStyle>
            <a:lvl1pPr algn="r">
              <a:defRPr sz="700">
                <a:solidFill>
                  <a:schemeClr val="tx1">
                    <a:tint val="75000"/>
                  </a:schemeClr>
                </a:solidFill>
              </a:defRPr>
            </a:lvl1pPr>
          </a:lstStyle>
          <a:p>
            <a:fld id="{4AD1E780-DE1C-4ECA-B5E5-863D0BC53287}" type="slidenum">
              <a:rPr lang="de-DE" smtClean="0"/>
              <a:pPr/>
              <a:t>‹#›</a:t>
            </a:fld>
            <a:endParaRPr lang="de-DE" dirty="0"/>
          </a:p>
        </p:txBody>
      </p:sp>
    </p:spTree>
    <p:extLst>
      <p:ext uri="{BB962C8B-B14F-4D97-AF65-F5344CB8AC3E}">
        <p14:creationId xmlns:p14="http://schemas.microsoft.com/office/powerpoint/2010/main" val="389525798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0" r:id="rId3"/>
    <p:sldLayoutId id="2147483662"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Lst>
  <p:timing>
    <p:tnLst>
      <p:par>
        <p:cTn id="1" dur="indefinite" restart="never" nodeType="tmRoot"/>
      </p:par>
    </p:tnLst>
  </p:timing>
  <p:hf hdr="0"/>
  <p:txStyles>
    <p:titleStyle>
      <a:lvl1pPr algn="l" defTabSz="779074" rtl="0" eaLnBrk="1" latinLnBrk="0" hangingPunct="1">
        <a:spcBef>
          <a:spcPct val="0"/>
        </a:spcBef>
        <a:buNone/>
        <a:defRPr sz="1400" kern="1200" baseline="0">
          <a:solidFill>
            <a:schemeClr val="tx2"/>
          </a:solidFill>
          <a:latin typeface="+mj-lt"/>
          <a:ea typeface="+mj-ea"/>
          <a:cs typeface="+mj-cs"/>
        </a:defRPr>
      </a:lvl1pPr>
    </p:titleStyle>
    <p:bodyStyle>
      <a:lvl1pPr marL="0" indent="0" algn="l" defTabSz="779074" rtl="0" eaLnBrk="1" latinLnBrk="0" hangingPunct="1">
        <a:spcBef>
          <a:spcPts val="170"/>
        </a:spcBef>
        <a:buClr>
          <a:schemeClr val="tx2"/>
        </a:buClr>
        <a:buFont typeface="Wingdings" pitchFamily="2" charset="2"/>
        <a:buNone/>
        <a:defRPr sz="1400" kern="1200">
          <a:solidFill>
            <a:schemeClr val="tx2"/>
          </a:solidFill>
          <a:latin typeface="+mn-lt"/>
          <a:ea typeface="+mn-ea"/>
          <a:cs typeface="+mn-cs"/>
        </a:defRPr>
      </a:lvl1pPr>
      <a:lvl2pPr marL="154193" indent="-154193" algn="l" defTabSz="779074" rtl="0" eaLnBrk="1" latinLnBrk="0" hangingPunct="1">
        <a:spcBef>
          <a:spcPts val="170"/>
        </a:spcBef>
        <a:buClr>
          <a:schemeClr val="tx2"/>
        </a:buClr>
        <a:buFont typeface="Wingdings" pitchFamily="2" charset="2"/>
        <a:buChar char="§"/>
        <a:defRPr sz="1400" kern="1200">
          <a:solidFill>
            <a:schemeClr val="tx2"/>
          </a:solidFill>
          <a:latin typeface="+mn-lt"/>
          <a:ea typeface="+mn-ea"/>
          <a:cs typeface="+mn-cs"/>
        </a:defRPr>
      </a:lvl2pPr>
      <a:lvl3pPr marL="302972" indent="-148781" algn="l" defTabSz="779074" rtl="0" eaLnBrk="1" latinLnBrk="0" hangingPunct="1">
        <a:spcBef>
          <a:spcPts val="170"/>
        </a:spcBef>
        <a:buClr>
          <a:schemeClr val="tx2"/>
        </a:buClr>
        <a:buFont typeface="Arial" pitchFamily="34" charset="0"/>
        <a:buChar char="–"/>
        <a:defRPr sz="1400" kern="1200">
          <a:solidFill>
            <a:schemeClr val="tx2"/>
          </a:solidFill>
          <a:latin typeface="+mn-lt"/>
          <a:ea typeface="+mn-ea"/>
          <a:cs typeface="+mn-cs"/>
        </a:defRPr>
      </a:lvl3pPr>
      <a:lvl4pPr marL="458519" indent="-155544" algn="l" defTabSz="779074" rtl="0" eaLnBrk="1" latinLnBrk="0" hangingPunct="1">
        <a:spcBef>
          <a:spcPts val="170"/>
        </a:spcBef>
        <a:buClr>
          <a:schemeClr val="tx2"/>
        </a:buClr>
        <a:buFont typeface="Arial" pitchFamily="34" charset="0"/>
        <a:buChar char="•"/>
        <a:defRPr sz="1400" kern="1200">
          <a:solidFill>
            <a:schemeClr val="tx2"/>
          </a:solidFill>
          <a:latin typeface="+mn-lt"/>
          <a:ea typeface="+mn-ea"/>
          <a:cs typeface="+mn-cs"/>
        </a:defRPr>
      </a:lvl4pPr>
      <a:lvl5pPr marL="612710" indent="-154193" algn="l" defTabSz="779074" rtl="0" eaLnBrk="1" latinLnBrk="0" hangingPunct="1">
        <a:spcBef>
          <a:spcPts val="170"/>
        </a:spcBef>
        <a:buClr>
          <a:schemeClr val="tx2"/>
        </a:buClr>
        <a:buFont typeface="Symbol" pitchFamily="18" charset="2"/>
        <a:buChar char="-"/>
        <a:defRPr sz="1400" kern="1200">
          <a:solidFill>
            <a:schemeClr val="tx2"/>
          </a:solidFill>
          <a:latin typeface="+mn-lt"/>
          <a:ea typeface="+mn-ea"/>
          <a:cs typeface="+mn-cs"/>
        </a:defRPr>
      </a:lvl5pPr>
      <a:lvl6pPr marL="2142455" indent="-194769" algn="l" defTabSz="779074"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31992" indent="-194769" algn="l" defTabSz="779074"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21529" indent="-194769" algn="l" defTabSz="779074"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11066" indent="-194769" algn="l" defTabSz="779074"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de-DE"/>
      </a:defPPr>
      <a:lvl1pPr marL="0" algn="l" defTabSz="779074" rtl="0" eaLnBrk="1" latinLnBrk="0" hangingPunct="1">
        <a:defRPr sz="1500" kern="1200">
          <a:solidFill>
            <a:schemeClr val="tx1"/>
          </a:solidFill>
          <a:latin typeface="+mn-lt"/>
          <a:ea typeface="+mn-ea"/>
          <a:cs typeface="+mn-cs"/>
        </a:defRPr>
      </a:lvl1pPr>
      <a:lvl2pPr marL="389538" algn="l" defTabSz="779074" rtl="0" eaLnBrk="1" latinLnBrk="0" hangingPunct="1">
        <a:defRPr sz="1500" kern="1200">
          <a:solidFill>
            <a:schemeClr val="tx1"/>
          </a:solidFill>
          <a:latin typeface="+mn-lt"/>
          <a:ea typeface="+mn-ea"/>
          <a:cs typeface="+mn-cs"/>
        </a:defRPr>
      </a:lvl2pPr>
      <a:lvl3pPr marL="779074" algn="l" defTabSz="779074" rtl="0" eaLnBrk="1" latinLnBrk="0" hangingPunct="1">
        <a:defRPr sz="1500" kern="1200">
          <a:solidFill>
            <a:schemeClr val="tx1"/>
          </a:solidFill>
          <a:latin typeface="+mn-lt"/>
          <a:ea typeface="+mn-ea"/>
          <a:cs typeface="+mn-cs"/>
        </a:defRPr>
      </a:lvl3pPr>
      <a:lvl4pPr marL="1168612" algn="l" defTabSz="779074" rtl="0" eaLnBrk="1" latinLnBrk="0" hangingPunct="1">
        <a:defRPr sz="1500" kern="1200">
          <a:solidFill>
            <a:schemeClr val="tx1"/>
          </a:solidFill>
          <a:latin typeface="+mn-lt"/>
          <a:ea typeface="+mn-ea"/>
          <a:cs typeface="+mn-cs"/>
        </a:defRPr>
      </a:lvl4pPr>
      <a:lvl5pPr marL="1558149" algn="l" defTabSz="779074" rtl="0" eaLnBrk="1" latinLnBrk="0" hangingPunct="1">
        <a:defRPr sz="1500" kern="1200">
          <a:solidFill>
            <a:schemeClr val="tx1"/>
          </a:solidFill>
          <a:latin typeface="+mn-lt"/>
          <a:ea typeface="+mn-ea"/>
          <a:cs typeface="+mn-cs"/>
        </a:defRPr>
      </a:lvl5pPr>
      <a:lvl6pPr marL="1947686" algn="l" defTabSz="779074" rtl="0" eaLnBrk="1" latinLnBrk="0" hangingPunct="1">
        <a:defRPr sz="1500" kern="1200">
          <a:solidFill>
            <a:schemeClr val="tx1"/>
          </a:solidFill>
          <a:latin typeface="+mn-lt"/>
          <a:ea typeface="+mn-ea"/>
          <a:cs typeface="+mn-cs"/>
        </a:defRPr>
      </a:lvl6pPr>
      <a:lvl7pPr marL="2337223" algn="l" defTabSz="779074" rtl="0" eaLnBrk="1" latinLnBrk="0" hangingPunct="1">
        <a:defRPr sz="1500" kern="1200">
          <a:solidFill>
            <a:schemeClr val="tx1"/>
          </a:solidFill>
          <a:latin typeface="+mn-lt"/>
          <a:ea typeface="+mn-ea"/>
          <a:cs typeface="+mn-cs"/>
        </a:defRPr>
      </a:lvl7pPr>
      <a:lvl8pPr marL="2726760" algn="l" defTabSz="779074" rtl="0" eaLnBrk="1" latinLnBrk="0" hangingPunct="1">
        <a:defRPr sz="1500" kern="1200">
          <a:solidFill>
            <a:schemeClr val="tx1"/>
          </a:solidFill>
          <a:latin typeface="+mn-lt"/>
          <a:ea typeface="+mn-ea"/>
          <a:cs typeface="+mn-cs"/>
        </a:defRPr>
      </a:lvl8pPr>
      <a:lvl9pPr marL="3116298" algn="l" defTabSz="779074"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gif"/><Relationship Id="rId7" Type="http://schemas.openxmlformats.org/officeDocument/2006/relationships/image" Target="../media/image19.png"/><Relationship Id="rId12" Type="http://schemas.openxmlformats.org/officeDocument/2006/relationships/image" Target="../media/image24.jpeg"/><Relationship Id="rId2" Type="http://schemas.openxmlformats.org/officeDocument/2006/relationships/notesSlide" Target="../notesSlides/notesSlide14.xml"/><Relationship Id="rId16" Type="http://schemas.openxmlformats.org/officeDocument/2006/relationships/image" Target="../media/image28.png"/><Relationship Id="rId1" Type="http://schemas.openxmlformats.org/officeDocument/2006/relationships/slideLayout" Target="../slideLayouts/slideLayout3.xml"/><Relationship Id="rId6" Type="http://schemas.openxmlformats.org/officeDocument/2006/relationships/image" Target="../media/image18.jpe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jpeg"/><Relationship Id="rId10" Type="http://schemas.openxmlformats.org/officeDocument/2006/relationships/image" Target="../media/image22.jpe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5.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30.jpeg"/></Relationships>
</file>

<file path=ppt/slides/_rels/slide19.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1.jpeg"/><Relationship Id="rId18" Type="http://schemas.openxmlformats.org/officeDocument/2006/relationships/image" Target="../media/image45.png"/><Relationship Id="rId3" Type="http://schemas.openxmlformats.org/officeDocument/2006/relationships/image" Target="../media/image31.jpg"/><Relationship Id="rId7" Type="http://schemas.openxmlformats.org/officeDocument/2006/relationships/image" Target="../media/image35.jpeg"/><Relationship Id="rId12" Type="http://schemas.openxmlformats.org/officeDocument/2006/relationships/image" Target="../media/image40.png"/><Relationship Id="rId17" Type="http://schemas.openxmlformats.org/officeDocument/2006/relationships/image" Target="../media/image15.gif"/><Relationship Id="rId2" Type="http://schemas.openxmlformats.org/officeDocument/2006/relationships/notesSlide" Target="../notesSlides/notesSlide17.xml"/><Relationship Id="rId16" Type="http://schemas.openxmlformats.org/officeDocument/2006/relationships/image" Target="../media/image44.jpeg"/><Relationship Id="rId1" Type="http://schemas.openxmlformats.org/officeDocument/2006/relationships/slideLayout" Target="../slideLayouts/slideLayout3.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2.jpeg"/><Relationship Id="rId9" Type="http://schemas.openxmlformats.org/officeDocument/2006/relationships/image" Target="../media/image37.png"/><Relationship Id="rId1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5.emf"/><Relationship Id="rId2" Type="http://schemas.openxmlformats.org/officeDocument/2006/relationships/tags" Target="../tags/tag2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Layout" Target="../slideLayouts/slideLayout5.xml"/><Relationship Id="rId4" Type="http://schemas.openxmlformats.org/officeDocument/2006/relationships/tags" Target="../tags/tag29.xml"/></Relationships>
</file>

<file path=ppt/slides/_rels/slide20.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image" Target="../media/image45.png"/><Relationship Id="rId4" Type="http://schemas.openxmlformats.org/officeDocument/2006/relationships/image" Target="../media/image40.png"/></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hyperlink" Target="http://www.sciencemag.org/news/2016/04/whos-downloading-pirated-papers-everyone" TargetMode="External"/><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50.png"/></Relationships>
</file>

<file path=ppt/slides/_rels/slide23.xml.rels><?xml version="1.0" encoding="UTF-8" standalone="yes"?>
<Relationships xmlns="http://schemas.openxmlformats.org/package/2006/relationships"><Relationship Id="rId3" Type="http://schemas.openxmlformats.org/officeDocument/2006/relationships/hyperlink" Target="https://41.media.tumblr.com/0e1dbf83f053703568913d04a526fcb1/tumblr_inline_o3m3oc2kCO1sxr3js_540.jpg" TargetMode="External"/><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51.jpeg"/></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0.xml"/><Relationship Id="rId1" Type="http://schemas.openxmlformats.org/officeDocument/2006/relationships/tags" Target="../tags/tag33.xml"/></Relationships>
</file>

<file path=ppt/slides/_rels/slide2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54.png"/><Relationship Id="rId7"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48.png"/><Relationship Id="rId5" Type="http://schemas.openxmlformats.org/officeDocument/2006/relationships/image" Target="../media/image56.png"/><Relationship Id="rId4" Type="http://schemas.openxmlformats.org/officeDocument/2006/relationships/image" Target="../media/image55.png"/></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hyperlink" Target="https://oa2020.org/" TargetMode="External"/><Relationship Id="rId2" Type="http://schemas.openxmlformats.org/officeDocument/2006/relationships/hyperlink" Target="mailto:schimmer@mpdl.mpg.de" TargetMode="External"/><Relationship Id="rId1" Type="http://schemas.openxmlformats.org/officeDocument/2006/relationships/slideLayout" Target="../slideLayouts/slideLayout3.xml"/><Relationship Id="rId5" Type="http://schemas.openxmlformats.org/officeDocument/2006/relationships/image" Target="../media/image60.gif"/><Relationship Id="rId4" Type="http://schemas.openxmlformats.org/officeDocument/2006/relationships/image" Target="../media/image59.gi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Layout" Target="../slideLayouts/slideLayout5.xml"/><Relationship Id="rId4" Type="http://schemas.openxmlformats.org/officeDocument/2006/relationships/tags" Target="../tags/tag32.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ext uri="{D42A27DB-BD31-4B8C-83A1-F6EECF244321}">
                <p14:modId xmlns:p14="http://schemas.microsoft.com/office/powerpoint/2010/main" val="2020870147"/>
              </p:ext>
            </p:extLst>
          </p:nvPr>
        </p:nvGraphicFramePr>
        <p:xfrm>
          <a:off x="0" y="2"/>
          <a:ext cx="146538" cy="119063"/>
        </p:xfrm>
        <a:graphic>
          <a:graphicData uri="http://schemas.openxmlformats.org/presentationml/2006/ole">
            <mc:AlternateContent xmlns:mc="http://schemas.openxmlformats.org/markup-compatibility/2006">
              <mc:Choice xmlns:v="urn:schemas-microsoft-com:vml" Requires="v">
                <p:oleObj spid="_x0000_s152777" name="think-cell Folie" r:id="rId5" imgW="341" imgH="340" progId="TCLayout.ActiveDocument.1">
                  <p:embed/>
                </p:oleObj>
              </mc:Choice>
              <mc:Fallback>
                <p:oleObj name="think-cell Folie" r:id="rId5" imgW="341" imgH="340" progId="TCLayout.ActiveDocument.1">
                  <p:embed/>
                  <p:pic>
                    <p:nvPicPr>
                      <p:cNvPr id="0" name=""/>
                      <p:cNvPicPr/>
                      <p:nvPr/>
                    </p:nvPicPr>
                    <p:blipFill>
                      <a:blip r:embed="rId6"/>
                      <a:stretch>
                        <a:fillRect/>
                      </a:stretch>
                    </p:blipFill>
                    <p:spPr>
                      <a:xfrm>
                        <a:off x="0" y="2"/>
                        <a:ext cx="146538" cy="119063"/>
                      </a:xfrm>
                      <a:prstGeom prst="rect">
                        <a:avLst/>
                      </a:prstGeom>
                    </p:spPr>
                  </p:pic>
                </p:oleObj>
              </mc:Fallback>
            </mc:AlternateContent>
          </a:graphicData>
        </a:graphic>
      </p:graphicFrame>
      <p:sp>
        <p:nvSpPr>
          <p:cNvPr id="2" name="Titel 1"/>
          <p:cNvSpPr>
            <a:spLocks noGrp="1"/>
          </p:cNvSpPr>
          <p:nvPr>
            <p:ph type="ctrTitle"/>
          </p:nvPr>
        </p:nvSpPr>
        <p:spPr>
          <a:xfrm>
            <a:off x="952334" y="2536781"/>
            <a:ext cx="8049728" cy="436017"/>
          </a:xfrm>
        </p:spPr>
        <p:txBody>
          <a:bodyPr/>
          <a:lstStyle/>
          <a:p>
            <a:pPr>
              <a:lnSpc>
                <a:spcPts val="3409"/>
              </a:lnSpc>
            </a:pPr>
            <a:r>
              <a:rPr lang="en-US" sz="2400" dirty="0" smtClean="0"/>
              <a:t>Unlocking research, unleashing opportunity </a:t>
            </a:r>
            <a:endParaRPr lang="de-DE" sz="1800" b="0" dirty="0"/>
          </a:p>
        </p:txBody>
      </p:sp>
      <p:sp>
        <p:nvSpPr>
          <p:cNvPr id="3" name="Untertitel 2"/>
          <p:cNvSpPr>
            <a:spLocks noGrp="1"/>
          </p:cNvSpPr>
          <p:nvPr>
            <p:ph type="subTitle" idx="1"/>
          </p:nvPr>
        </p:nvSpPr>
        <p:spPr>
          <a:xfrm>
            <a:off x="952334" y="3144851"/>
            <a:ext cx="8036754" cy="1697901"/>
          </a:xfrm>
        </p:spPr>
        <p:txBody>
          <a:bodyPr/>
          <a:lstStyle/>
          <a:p>
            <a:r>
              <a:rPr lang="en-US" b="1" dirty="0"/>
              <a:t>7th International Scientific and Practical </a:t>
            </a:r>
            <a:r>
              <a:rPr lang="en-US" b="1" dirty="0" smtClean="0"/>
              <a:t>Conference </a:t>
            </a:r>
            <a:br>
              <a:rPr lang="en-US" b="1" dirty="0" smtClean="0"/>
            </a:br>
            <a:r>
              <a:rPr lang="en-US" dirty="0" smtClean="0"/>
              <a:t>Scientific </a:t>
            </a:r>
            <a:r>
              <a:rPr lang="en-US" dirty="0"/>
              <a:t>Edition of the International </a:t>
            </a:r>
            <a:r>
              <a:rPr lang="en-US" dirty="0" smtClean="0"/>
              <a:t>Level 2018</a:t>
            </a:r>
            <a:r>
              <a:rPr lang="en-US" dirty="0"/>
              <a:t>: </a:t>
            </a:r>
            <a:r>
              <a:rPr lang="en-US" dirty="0" smtClean="0"/>
              <a:t/>
            </a:r>
            <a:br>
              <a:rPr lang="en-US" dirty="0" smtClean="0"/>
            </a:br>
            <a:r>
              <a:rPr lang="en-US" dirty="0" smtClean="0"/>
              <a:t>Editorial </a:t>
            </a:r>
            <a:r>
              <a:rPr lang="en-US" dirty="0"/>
              <a:t>Policy, Open Access</a:t>
            </a:r>
            <a:r>
              <a:rPr lang="en-US" dirty="0" smtClean="0"/>
              <a:t>, Scientific Communications</a:t>
            </a:r>
          </a:p>
          <a:p>
            <a:endParaRPr lang="en-US" dirty="0"/>
          </a:p>
          <a:p>
            <a:r>
              <a:rPr lang="en-US" sz="1200" dirty="0" smtClean="0"/>
              <a:t>Moscow, 25 April 2018</a:t>
            </a:r>
          </a:p>
          <a:p>
            <a:endParaRPr lang="en-US" sz="1000" dirty="0"/>
          </a:p>
          <a:p>
            <a:r>
              <a:rPr lang="en-US" sz="1200" b="1" dirty="0" smtClean="0"/>
              <a:t>Colleen Campbell</a:t>
            </a:r>
          </a:p>
          <a:p>
            <a:r>
              <a:rPr lang="en-US" sz="1200" dirty="0" smtClean="0"/>
              <a:t>Open Access 2020 Initiative, Max Planck Digital Library</a:t>
            </a:r>
            <a:endParaRPr lang="en-US" sz="1200" dirty="0"/>
          </a:p>
        </p:txBody>
      </p:sp>
      <p:pic>
        <p:nvPicPr>
          <p:cNvPr id="5" name="Picture 4"/>
          <p:cNvPicPr>
            <a:picLocks noChangeAspect="1"/>
          </p:cNvPicPr>
          <p:nvPr/>
        </p:nvPicPr>
        <p:blipFill>
          <a:blip r:embed="rId7"/>
          <a:stretch>
            <a:fillRect/>
          </a:stretch>
        </p:blipFill>
        <p:spPr>
          <a:xfrm>
            <a:off x="6308827" y="3429215"/>
            <a:ext cx="1420725" cy="1413537"/>
          </a:xfrm>
          <a:prstGeom prst="rect">
            <a:avLst/>
          </a:prstGeom>
        </p:spPr>
      </p:pic>
    </p:spTree>
    <p:extLst>
      <p:ext uri="{BB962C8B-B14F-4D97-AF65-F5344CB8AC3E}">
        <p14:creationId xmlns:p14="http://schemas.microsoft.com/office/powerpoint/2010/main" val="31445228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AD1E780-DE1C-4ECA-B5E5-863D0BC53287}" type="slidenum">
              <a:rPr lang="de-DE" smtClean="0"/>
              <a:pPr/>
              <a:t>9</a:t>
            </a:fld>
            <a:endParaRPr lang="de-DE" dirty="0"/>
          </a:p>
        </p:txBody>
      </p:sp>
      <p:grpSp>
        <p:nvGrpSpPr>
          <p:cNvPr id="32" name="Gruppieren 31"/>
          <p:cNvGrpSpPr/>
          <p:nvPr/>
        </p:nvGrpSpPr>
        <p:grpSpPr>
          <a:xfrm flipH="1">
            <a:off x="1182063" y="878610"/>
            <a:ext cx="6660566" cy="4267157"/>
            <a:chOff x="1458426" y="1428292"/>
            <a:chExt cx="6660566" cy="4267157"/>
          </a:xfrm>
        </p:grpSpPr>
        <p:sp>
          <p:nvSpPr>
            <p:cNvPr id="33" name="Bogen 32"/>
            <p:cNvSpPr/>
            <p:nvPr/>
          </p:nvSpPr>
          <p:spPr>
            <a:xfrm rot="17296039">
              <a:off x="2579970" y="1371141"/>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4" name="Bogen 33"/>
            <p:cNvSpPr/>
            <p:nvPr/>
          </p:nvSpPr>
          <p:spPr>
            <a:xfrm rot="14589615">
              <a:off x="1515577" y="3095124"/>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5" name="Bogen 34"/>
            <p:cNvSpPr/>
            <p:nvPr/>
          </p:nvSpPr>
          <p:spPr>
            <a:xfrm rot="2256224">
              <a:off x="5575818" y="2278575"/>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36" name="Gruppieren 35"/>
          <p:cNvGrpSpPr/>
          <p:nvPr/>
        </p:nvGrpSpPr>
        <p:grpSpPr>
          <a:xfrm>
            <a:off x="1264664" y="536664"/>
            <a:ext cx="6452797" cy="5141708"/>
            <a:chOff x="1588652" y="1038721"/>
            <a:chExt cx="6452797" cy="5141708"/>
          </a:xfrm>
        </p:grpSpPr>
        <p:sp>
          <p:nvSpPr>
            <p:cNvPr id="37" name="Bogen 36"/>
            <p:cNvSpPr/>
            <p:nvPr/>
          </p:nvSpPr>
          <p:spPr>
            <a:xfrm rot="17296039">
              <a:off x="2579970" y="1371141"/>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8" name="Bogen 37"/>
            <p:cNvSpPr/>
            <p:nvPr/>
          </p:nvSpPr>
          <p:spPr>
            <a:xfrm rot="9236187">
              <a:off x="1588652" y="3522954"/>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9" name="Bogen 38"/>
            <p:cNvSpPr/>
            <p:nvPr/>
          </p:nvSpPr>
          <p:spPr>
            <a:xfrm rot="1367679">
              <a:off x="5498275" y="1038721"/>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40" name="Gruppieren 39"/>
          <p:cNvGrpSpPr/>
          <p:nvPr/>
        </p:nvGrpSpPr>
        <p:grpSpPr>
          <a:xfrm>
            <a:off x="2903679" y="1426753"/>
            <a:ext cx="3161019" cy="3043239"/>
            <a:chOff x="3218142" y="1928810"/>
            <a:chExt cx="3161019" cy="3043239"/>
          </a:xfrm>
        </p:grpSpPr>
        <p:sp>
          <p:nvSpPr>
            <p:cNvPr id="41" name="Bogen 40"/>
            <p:cNvSpPr/>
            <p:nvPr/>
          </p:nvSpPr>
          <p:spPr>
            <a:xfrm>
              <a:off x="3275292" y="2033900"/>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2" name="Bogen 41"/>
            <p:cNvSpPr/>
            <p:nvPr/>
          </p:nvSpPr>
          <p:spPr>
            <a:xfrm rot="16404932">
              <a:off x="3275293" y="2314573"/>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3" name="Bogen 42"/>
            <p:cNvSpPr/>
            <p:nvPr/>
          </p:nvSpPr>
          <p:spPr>
            <a:xfrm rot="12312537">
              <a:off x="3589576" y="2314574"/>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4" name="Bogen 43"/>
            <p:cNvSpPr/>
            <p:nvPr/>
          </p:nvSpPr>
          <p:spPr>
            <a:xfrm rot="8321672">
              <a:off x="3835987" y="2110102"/>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5" name="Bogen 44"/>
            <p:cNvSpPr/>
            <p:nvPr/>
          </p:nvSpPr>
          <p:spPr>
            <a:xfrm rot="4020679">
              <a:off x="3592988" y="1871659"/>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46" name="Gruppieren 45"/>
          <p:cNvGrpSpPr/>
          <p:nvPr/>
        </p:nvGrpSpPr>
        <p:grpSpPr>
          <a:xfrm>
            <a:off x="2008688" y="828455"/>
            <a:ext cx="5006969" cy="4480067"/>
            <a:chOff x="2423462" y="1540045"/>
            <a:chExt cx="5006969" cy="4480067"/>
          </a:xfrm>
        </p:grpSpPr>
        <p:sp>
          <p:nvSpPr>
            <p:cNvPr id="47" name="Bogen 46"/>
            <p:cNvSpPr/>
            <p:nvPr/>
          </p:nvSpPr>
          <p:spPr>
            <a:xfrm rot="20383742">
              <a:off x="4240326" y="1540045"/>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8" name="Bogen 47"/>
            <p:cNvSpPr/>
            <p:nvPr/>
          </p:nvSpPr>
          <p:spPr>
            <a:xfrm rot="14589615">
              <a:off x="2480613" y="2110102"/>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9" name="Bogen 48"/>
            <p:cNvSpPr/>
            <p:nvPr/>
          </p:nvSpPr>
          <p:spPr>
            <a:xfrm rot="8556554">
              <a:off x="2899627" y="3362637"/>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0" name="Bogen 49"/>
            <p:cNvSpPr/>
            <p:nvPr/>
          </p:nvSpPr>
          <p:spPr>
            <a:xfrm rot="4971738">
              <a:off x="4830107" y="2675089"/>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51" name="Ellipse 50"/>
          <p:cNvSpPr/>
          <p:nvPr/>
        </p:nvSpPr>
        <p:spPr>
          <a:xfrm>
            <a:off x="3329653" y="1836827"/>
            <a:ext cx="2243952" cy="223872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2" name="Ellipse 51"/>
          <p:cNvSpPr/>
          <p:nvPr/>
        </p:nvSpPr>
        <p:spPr>
          <a:xfrm>
            <a:off x="3329653" y="1836827"/>
            <a:ext cx="2243952" cy="2238720"/>
          </a:xfrm>
          <a:prstGeom prst="ellipse">
            <a:avLst/>
          </a:prstGeom>
          <a:blipFill dpi="0" rotWithShape="1">
            <a:blip r:embed="rId3">
              <a:extLst>
                <a:ext uri="{28A0092B-C50C-407E-A947-70E740481C1C}">
                  <a14:useLocalDpi xmlns:a14="http://schemas.microsoft.com/office/drawing/2010/main" val="0"/>
                </a:ext>
              </a:extLst>
            </a:blip>
            <a:srcRect/>
            <a:stretch>
              <a:fillRect/>
            </a:stretch>
          </a:bli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53" name="Rechteck 52"/>
          <p:cNvSpPr/>
          <p:nvPr/>
        </p:nvSpPr>
        <p:spPr>
          <a:xfrm>
            <a:off x="0" y="2"/>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smtClean="0">
              <a:solidFill>
                <a:schemeClr val="tx1"/>
              </a:solidFill>
            </a:endParaRPr>
          </a:p>
        </p:txBody>
      </p:sp>
      <p:sp>
        <p:nvSpPr>
          <p:cNvPr id="54" name="Rechteck 53"/>
          <p:cNvSpPr/>
          <p:nvPr/>
        </p:nvSpPr>
        <p:spPr>
          <a:xfrm>
            <a:off x="284985" y="111727"/>
            <a:ext cx="510069" cy="115416"/>
          </a:xfrm>
          <a:prstGeom prst="rect">
            <a:avLst/>
          </a:prstGeom>
        </p:spPr>
        <p:txBody>
          <a:bodyPr wrap="none" lIns="0" tIns="0" rIns="0" bIns="0">
            <a:noAutofit/>
          </a:bodyPr>
          <a:lstStyle/>
          <a:p>
            <a:r>
              <a:rPr lang="de-DE" sz="700" b="1" i="0" kern="1200" dirty="0" smtClean="0">
                <a:solidFill>
                  <a:schemeClr val="accent6"/>
                </a:solidFill>
                <a:latin typeface="+mn-lt"/>
                <a:ea typeface="+mn-ea"/>
                <a:cs typeface="+mn-cs"/>
              </a:rPr>
              <a:t>@oa2020ini</a:t>
            </a:r>
            <a:endParaRPr lang="de-DE" sz="700" b="1" i="0" dirty="0">
              <a:solidFill>
                <a:schemeClr val="accent6"/>
              </a:solidFill>
            </a:endParaRPr>
          </a:p>
        </p:txBody>
      </p:sp>
      <p:pic>
        <p:nvPicPr>
          <p:cNvPr id="55" name="Grafik 5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7181" y="111727"/>
            <a:ext cx="1524159" cy="694461"/>
          </a:xfrm>
          <a:prstGeom prst="rect">
            <a:avLst/>
          </a:prstGeom>
        </p:spPr>
      </p:pic>
      <p:sp>
        <p:nvSpPr>
          <p:cNvPr id="6" name="Text Placeholder 5"/>
          <p:cNvSpPr>
            <a:spLocks noGrp="1"/>
          </p:cNvSpPr>
          <p:nvPr>
            <p:ph type="body" sz="quarter" idx="13"/>
          </p:nvPr>
        </p:nvSpPr>
        <p:spPr/>
        <p:txBody>
          <a:bodyPr/>
          <a:lstStyle/>
          <a:p>
            <a:r>
              <a:rPr lang="en-GB" dirty="0" smtClean="0"/>
              <a:t>And what do the find in </a:t>
            </a:r>
            <a:r>
              <a:rPr lang="en-GB" dirty="0"/>
              <a:t>the eye of the </a:t>
            </a:r>
            <a:r>
              <a:rPr lang="en-GB" dirty="0" smtClean="0"/>
              <a:t>storm?</a:t>
            </a:r>
            <a:br>
              <a:rPr lang="en-GB" dirty="0" smtClean="0"/>
            </a:br>
            <a:r>
              <a:rPr lang="en-GB" dirty="0" smtClean="0"/>
              <a:t>A </a:t>
            </a:r>
            <a:r>
              <a:rPr lang="en-GB" dirty="0"/>
              <a:t>stagnant </a:t>
            </a:r>
            <a:r>
              <a:rPr lang="en-GB" dirty="0" smtClean="0"/>
              <a:t>paywall system!</a:t>
            </a:r>
            <a:endParaRPr lang="de-DE" dirty="0"/>
          </a:p>
        </p:txBody>
      </p:sp>
    </p:spTree>
    <p:extLst>
      <p:ext uri="{BB962C8B-B14F-4D97-AF65-F5344CB8AC3E}">
        <p14:creationId xmlns:p14="http://schemas.microsoft.com/office/powerpoint/2010/main" val="729393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3000" fill="hold"/>
                                        <p:tgtEl>
                                          <p:spTgt spid="32"/>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36"/>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3000" fill="hold"/>
                                        <p:tgtEl>
                                          <p:spTgt spid="46"/>
                                        </p:tgtEl>
                                        <p:attrNameLst>
                                          <p:attrName>r</p:attrName>
                                        </p:attrNameLst>
                                      </p:cBhvr>
                                    </p:animRot>
                                  </p:childTnLst>
                                </p:cTn>
                              </p:par>
                              <p:par>
                                <p:cTn id="11" presetID="22" presetClass="entr" presetSubtype="4"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wipe(down)">
                                      <p:cBhvr>
                                        <p:cTn id="13" dur="2200"/>
                                        <p:tgtEl>
                                          <p:spTgt spid="52"/>
                                        </p:tgtEl>
                                      </p:cBhvr>
                                    </p:animEffect>
                                  </p:childTnLst>
                                </p:cTn>
                              </p:par>
                              <p:par>
                                <p:cTn id="14" presetID="10" presetClass="entr" presetSubtype="0" fill="hold" grpId="1" nodeType="withEffect">
                                  <p:stCondLst>
                                    <p:cond delay="1000"/>
                                  </p:stCondLst>
                                  <p:childTnLst>
                                    <p:set>
                                      <p:cBhvr>
                                        <p:cTn id="15" dur="1" fill="hold">
                                          <p:stCondLst>
                                            <p:cond delay="0"/>
                                          </p:stCondLst>
                                        </p:cTn>
                                        <p:tgtEl>
                                          <p:spTgt spid="52"/>
                                        </p:tgtEl>
                                        <p:attrNameLst>
                                          <p:attrName>style.visibility</p:attrName>
                                        </p:attrNameLst>
                                      </p:cBhvr>
                                      <p:to>
                                        <p:strVal val="visible"/>
                                      </p:to>
                                    </p:set>
                                    <p:animEffect transition="in" filter="fade">
                                      <p:cBhvr>
                                        <p:cTn id="16" dur="13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P spid="52"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 name="Rechteck 168"/>
          <p:cNvSpPr/>
          <p:nvPr/>
        </p:nvSpPr>
        <p:spPr>
          <a:xfrm rot="5400000">
            <a:off x="1781624" y="201218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0" name="Rechteck 169"/>
          <p:cNvSpPr/>
          <p:nvPr/>
        </p:nvSpPr>
        <p:spPr>
          <a:xfrm rot="5400000">
            <a:off x="2115651" y="1749348"/>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1" name="Rechteck 170"/>
          <p:cNvSpPr/>
          <p:nvPr/>
        </p:nvSpPr>
        <p:spPr>
          <a:xfrm rot="5400000">
            <a:off x="6152626"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2" name="Rechteck 171"/>
          <p:cNvSpPr/>
          <p:nvPr/>
        </p:nvSpPr>
        <p:spPr>
          <a:xfrm rot="5400000">
            <a:off x="6818030"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3" name="Rechteck 172"/>
          <p:cNvSpPr/>
          <p:nvPr/>
        </p:nvSpPr>
        <p:spPr>
          <a:xfrm rot="5400000">
            <a:off x="5482990"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4" name="Rechteck 173"/>
          <p:cNvSpPr/>
          <p:nvPr/>
        </p:nvSpPr>
        <p:spPr>
          <a:xfrm rot="5400000">
            <a:off x="4808974"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5" name="Rechteck 174"/>
          <p:cNvSpPr/>
          <p:nvPr/>
        </p:nvSpPr>
        <p:spPr>
          <a:xfrm rot="5400000">
            <a:off x="4471314" y="254018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6" name="Rechteck 175"/>
          <p:cNvSpPr/>
          <p:nvPr/>
        </p:nvSpPr>
        <p:spPr>
          <a:xfrm rot="5400000">
            <a:off x="6482698" y="360298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7" name="Rechteck 176"/>
          <p:cNvSpPr/>
          <p:nvPr/>
        </p:nvSpPr>
        <p:spPr>
          <a:xfrm rot="5400000">
            <a:off x="2448526" y="307075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8" name="Rechteck 177"/>
          <p:cNvSpPr/>
          <p:nvPr/>
        </p:nvSpPr>
        <p:spPr>
          <a:xfrm rot="5400000">
            <a:off x="2788352" y="22770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grpSp>
        <p:nvGrpSpPr>
          <p:cNvPr id="295" name="Gruppieren 294"/>
          <p:cNvGrpSpPr/>
          <p:nvPr/>
        </p:nvGrpSpPr>
        <p:grpSpPr>
          <a:xfrm flipH="1">
            <a:off x="4613178" y="2468462"/>
            <a:ext cx="622503" cy="232457"/>
            <a:chOff x="5911012" y="3297753"/>
            <a:chExt cx="674378" cy="309942"/>
          </a:xfrm>
        </p:grpSpPr>
        <p:sp>
          <p:nvSpPr>
            <p:cNvPr id="291" name="Rechteck 290"/>
            <p:cNvSpPr/>
            <p:nvPr/>
          </p:nvSpPr>
          <p:spPr>
            <a:xfrm rot="5400000">
              <a:off x="6274586" y="3296892"/>
              <a:ext cx="309941" cy="311666"/>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90" name="Rechteck 289"/>
            <p:cNvSpPr/>
            <p:nvPr/>
          </p:nvSpPr>
          <p:spPr>
            <a:xfrm rot="5400000">
              <a:off x="5911874" y="3296891"/>
              <a:ext cx="309941" cy="31166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2" name="Gruppieren 21"/>
          <p:cNvGrpSpPr/>
          <p:nvPr/>
        </p:nvGrpSpPr>
        <p:grpSpPr>
          <a:xfrm>
            <a:off x="6622235" y="1942395"/>
            <a:ext cx="614522" cy="232456"/>
            <a:chOff x="7174088" y="2589859"/>
            <a:chExt cx="665732" cy="309941"/>
          </a:xfrm>
        </p:grpSpPr>
        <p:sp>
          <p:nvSpPr>
            <p:cNvPr id="283" name="Rechteck 282"/>
            <p:cNvSpPr/>
            <p:nvPr/>
          </p:nvSpPr>
          <p:spPr>
            <a:xfrm rot="5400000" flipH="1">
              <a:off x="7233205" y="2530742"/>
              <a:ext cx="309941" cy="42817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85" name="Rechteck 284"/>
            <p:cNvSpPr/>
            <p:nvPr/>
          </p:nvSpPr>
          <p:spPr>
            <a:xfrm rot="5400000" flipH="1">
              <a:off x="7589089" y="2648501"/>
              <a:ext cx="306060" cy="19540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75" name="Gruppieren 274"/>
          <p:cNvGrpSpPr/>
          <p:nvPr/>
        </p:nvGrpSpPr>
        <p:grpSpPr>
          <a:xfrm rot="10800000" flipH="1">
            <a:off x="5949107" y="1942395"/>
            <a:ext cx="634149" cy="232456"/>
            <a:chOff x="6430035" y="2579086"/>
            <a:chExt cx="686995" cy="309941"/>
          </a:xfrm>
        </p:grpSpPr>
        <p:sp>
          <p:nvSpPr>
            <p:cNvPr id="276" name="Rechteck 275"/>
            <p:cNvSpPr/>
            <p:nvPr/>
          </p:nvSpPr>
          <p:spPr>
            <a:xfrm rot="5400000">
              <a:off x="6499784" y="2509337"/>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78" name="Rechteck 277"/>
            <p:cNvSpPr/>
            <p:nvPr/>
          </p:nvSpPr>
          <p:spPr>
            <a:xfrm rot="5400000">
              <a:off x="6866299" y="2634983"/>
              <a:ext cx="306060" cy="195403"/>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68" name="Gruppieren 267"/>
          <p:cNvGrpSpPr/>
          <p:nvPr/>
        </p:nvGrpSpPr>
        <p:grpSpPr>
          <a:xfrm rot="10800000">
            <a:off x="1581145" y="2208402"/>
            <a:ext cx="634149" cy="232456"/>
            <a:chOff x="6430035" y="2579086"/>
            <a:chExt cx="686995" cy="309941"/>
          </a:xfrm>
        </p:grpSpPr>
        <p:sp>
          <p:nvSpPr>
            <p:cNvPr id="269" name="Rechteck 268"/>
            <p:cNvSpPr/>
            <p:nvPr/>
          </p:nvSpPr>
          <p:spPr>
            <a:xfrm rot="5400000">
              <a:off x="6499784" y="2509337"/>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71" name="Rechteck 270"/>
            <p:cNvSpPr/>
            <p:nvPr/>
          </p:nvSpPr>
          <p:spPr>
            <a:xfrm rot="5400000">
              <a:off x="6866299" y="2634983"/>
              <a:ext cx="306060" cy="19540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67" name="Gruppieren 266"/>
          <p:cNvGrpSpPr/>
          <p:nvPr/>
        </p:nvGrpSpPr>
        <p:grpSpPr>
          <a:xfrm rot="10800000">
            <a:off x="1914301" y="1942395"/>
            <a:ext cx="634149" cy="232456"/>
            <a:chOff x="6430035" y="2579086"/>
            <a:chExt cx="686995" cy="309941"/>
          </a:xfrm>
        </p:grpSpPr>
        <p:sp>
          <p:nvSpPr>
            <p:cNvPr id="261" name="Rechteck 260"/>
            <p:cNvSpPr/>
            <p:nvPr/>
          </p:nvSpPr>
          <p:spPr>
            <a:xfrm rot="5400000">
              <a:off x="6499784" y="2509337"/>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63" name="Rechteck 262"/>
            <p:cNvSpPr/>
            <p:nvPr/>
          </p:nvSpPr>
          <p:spPr>
            <a:xfrm rot="5400000">
              <a:off x="6866299" y="2634983"/>
              <a:ext cx="306060" cy="19540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12" name="Gruppieren 11"/>
          <p:cNvGrpSpPr/>
          <p:nvPr/>
        </p:nvGrpSpPr>
        <p:grpSpPr>
          <a:xfrm>
            <a:off x="2250454" y="3267396"/>
            <a:ext cx="634747" cy="232456"/>
            <a:chOff x="2437989" y="4356525"/>
            <a:chExt cx="687643" cy="309941"/>
          </a:xfrm>
        </p:grpSpPr>
        <p:sp>
          <p:nvSpPr>
            <p:cNvPr id="194" name="Rechteck 193"/>
            <p:cNvSpPr/>
            <p:nvPr/>
          </p:nvSpPr>
          <p:spPr>
            <a:xfrm rot="5400000">
              <a:off x="2745942" y="4286776"/>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96" name="Rechteck 195"/>
            <p:cNvSpPr/>
            <p:nvPr/>
          </p:nvSpPr>
          <p:spPr>
            <a:xfrm rot="16200000" flipH="1">
              <a:off x="2382377" y="4412138"/>
              <a:ext cx="306627" cy="195403"/>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sp>
        <p:nvSpPr>
          <p:cNvPr id="19" name="Rechteck 18"/>
          <p:cNvSpPr/>
          <p:nvPr/>
        </p:nvSpPr>
        <p:spPr>
          <a:xfrm rot="5400000">
            <a:off x="1779513" y="2542218"/>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6" name="Rechteck 35"/>
          <p:cNvSpPr/>
          <p:nvPr/>
        </p:nvSpPr>
        <p:spPr>
          <a:xfrm rot="5400000">
            <a:off x="2452003"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7" name="Rechteck 36"/>
          <p:cNvSpPr/>
          <p:nvPr/>
        </p:nvSpPr>
        <p:spPr>
          <a:xfrm rot="5400000">
            <a:off x="3124491"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8" name="Rechteck 37"/>
          <p:cNvSpPr/>
          <p:nvPr/>
        </p:nvSpPr>
        <p:spPr>
          <a:xfrm rot="5400000">
            <a:off x="3796981"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0" name="Rechteck 39"/>
          <p:cNvSpPr/>
          <p:nvPr/>
        </p:nvSpPr>
        <p:spPr>
          <a:xfrm rot="5400000">
            <a:off x="5141962"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1" name="Rechteck 40"/>
          <p:cNvSpPr/>
          <p:nvPr/>
        </p:nvSpPr>
        <p:spPr>
          <a:xfrm rot="5400000">
            <a:off x="5814453" y="2543069"/>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2" name="Rechteck 41"/>
          <p:cNvSpPr/>
          <p:nvPr/>
        </p:nvSpPr>
        <p:spPr>
          <a:xfrm rot="5400000">
            <a:off x="2115651" y="2807464"/>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3" name="Rechteck 42"/>
          <p:cNvSpPr/>
          <p:nvPr/>
        </p:nvSpPr>
        <p:spPr>
          <a:xfrm rot="5400000">
            <a:off x="2788141"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6" name="Rechteck 45"/>
          <p:cNvSpPr/>
          <p:nvPr/>
        </p:nvSpPr>
        <p:spPr>
          <a:xfrm rot="5400000">
            <a:off x="3460631"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7" name="Rechteck 46"/>
          <p:cNvSpPr/>
          <p:nvPr/>
        </p:nvSpPr>
        <p:spPr>
          <a:xfrm rot="5400000">
            <a:off x="4133122"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8" name="Rechteck 47"/>
          <p:cNvSpPr/>
          <p:nvPr/>
        </p:nvSpPr>
        <p:spPr>
          <a:xfrm rot="5400000">
            <a:off x="4805614"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3" name="Rechteck 52"/>
          <p:cNvSpPr/>
          <p:nvPr/>
        </p:nvSpPr>
        <p:spPr>
          <a:xfrm rot="5400000">
            <a:off x="1779513" y="307075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5" name="Rechteck 54"/>
          <p:cNvSpPr/>
          <p:nvPr/>
        </p:nvSpPr>
        <p:spPr>
          <a:xfrm rot="5400000">
            <a:off x="312449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6" name="Rechteck 65"/>
          <p:cNvSpPr/>
          <p:nvPr/>
        </p:nvSpPr>
        <p:spPr>
          <a:xfrm rot="5400000">
            <a:off x="379698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7" name="Rechteck 66"/>
          <p:cNvSpPr/>
          <p:nvPr/>
        </p:nvSpPr>
        <p:spPr>
          <a:xfrm rot="5400000">
            <a:off x="446947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8" name="Rechteck 67"/>
          <p:cNvSpPr/>
          <p:nvPr/>
        </p:nvSpPr>
        <p:spPr>
          <a:xfrm rot="5400000">
            <a:off x="5141962"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9" name="Rechteck 68"/>
          <p:cNvSpPr/>
          <p:nvPr/>
        </p:nvSpPr>
        <p:spPr>
          <a:xfrm rot="5400000">
            <a:off x="5814453" y="30716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0" name="Rechteck 69"/>
          <p:cNvSpPr/>
          <p:nvPr/>
        </p:nvSpPr>
        <p:spPr>
          <a:xfrm rot="5400000">
            <a:off x="2115651" y="33359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1" name="Rechteck 70"/>
          <p:cNvSpPr/>
          <p:nvPr/>
        </p:nvSpPr>
        <p:spPr>
          <a:xfrm rot="5400000">
            <a:off x="2788141"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2" name="Rechteck 71"/>
          <p:cNvSpPr/>
          <p:nvPr/>
        </p:nvSpPr>
        <p:spPr>
          <a:xfrm rot="5400000">
            <a:off x="3460631"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3" name="Rechteck 72"/>
          <p:cNvSpPr/>
          <p:nvPr/>
        </p:nvSpPr>
        <p:spPr>
          <a:xfrm rot="5400000">
            <a:off x="4133122"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4" name="Rechteck 73"/>
          <p:cNvSpPr/>
          <p:nvPr/>
        </p:nvSpPr>
        <p:spPr>
          <a:xfrm rot="5400000">
            <a:off x="4805614"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5" name="Rechteck 74"/>
          <p:cNvSpPr/>
          <p:nvPr/>
        </p:nvSpPr>
        <p:spPr>
          <a:xfrm rot="5400000">
            <a:off x="5478104"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9" name="Rechteck 78"/>
          <p:cNvSpPr/>
          <p:nvPr/>
        </p:nvSpPr>
        <p:spPr>
          <a:xfrm rot="5400000">
            <a:off x="2452003"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0" name="Rechteck 79"/>
          <p:cNvSpPr/>
          <p:nvPr/>
        </p:nvSpPr>
        <p:spPr>
          <a:xfrm rot="5400000">
            <a:off x="312449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1" name="Rechteck 80"/>
          <p:cNvSpPr/>
          <p:nvPr/>
        </p:nvSpPr>
        <p:spPr>
          <a:xfrm rot="5400000">
            <a:off x="379698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2" name="Rechteck 81"/>
          <p:cNvSpPr/>
          <p:nvPr/>
        </p:nvSpPr>
        <p:spPr>
          <a:xfrm rot="5400000">
            <a:off x="446947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3" name="Rechteck 82"/>
          <p:cNvSpPr/>
          <p:nvPr/>
        </p:nvSpPr>
        <p:spPr>
          <a:xfrm rot="5400000">
            <a:off x="5141962"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4" name="Rechteck 83"/>
          <p:cNvSpPr/>
          <p:nvPr/>
        </p:nvSpPr>
        <p:spPr>
          <a:xfrm rot="5400000">
            <a:off x="5814453" y="20127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5" name="Rechteck 84"/>
          <p:cNvSpPr/>
          <p:nvPr/>
        </p:nvSpPr>
        <p:spPr>
          <a:xfrm rot="5400000">
            <a:off x="2115651" y="22770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7" name="Rechteck 86"/>
          <p:cNvSpPr/>
          <p:nvPr/>
        </p:nvSpPr>
        <p:spPr>
          <a:xfrm rot="5400000">
            <a:off x="3460631"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8" name="Rechteck 87"/>
          <p:cNvSpPr/>
          <p:nvPr/>
        </p:nvSpPr>
        <p:spPr>
          <a:xfrm rot="5400000">
            <a:off x="4133122"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0" name="Rechteck 89"/>
          <p:cNvSpPr/>
          <p:nvPr/>
        </p:nvSpPr>
        <p:spPr>
          <a:xfrm rot="5400000">
            <a:off x="5478104"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5" name="Rechteck 94"/>
          <p:cNvSpPr/>
          <p:nvPr/>
        </p:nvSpPr>
        <p:spPr>
          <a:xfrm rot="5400000">
            <a:off x="1612399" y="2975428"/>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6" name="Rechteck 95"/>
          <p:cNvSpPr/>
          <p:nvPr/>
        </p:nvSpPr>
        <p:spPr>
          <a:xfrm rot="5400000">
            <a:off x="1612399" y="244593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7" name="Rechteck 96"/>
          <p:cNvSpPr/>
          <p:nvPr/>
        </p:nvSpPr>
        <p:spPr>
          <a:xfrm rot="5400000">
            <a:off x="1612399" y="3503960"/>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8" name="Rechteck 97"/>
          <p:cNvSpPr/>
          <p:nvPr/>
        </p:nvSpPr>
        <p:spPr>
          <a:xfrm rot="5400000">
            <a:off x="1779513" y="148238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9" name="Rechteck 98"/>
          <p:cNvSpPr/>
          <p:nvPr/>
        </p:nvSpPr>
        <p:spPr>
          <a:xfrm rot="5400000">
            <a:off x="2452003"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0" name="Rechteck 99"/>
          <p:cNvSpPr/>
          <p:nvPr/>
        </p:nvSpPr>
        <p:spPr>
          <a:xfrm rot="5400000">
            <a:off x="3124491"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1" name="Rechteck 100"/>
          <p:cNvSpPr/>
          <p:nvPr/>
        </p:nvSpPr>
        <p:spPr>
          <a:xfrm rot="5400000">
            <a:off x="3796981"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2" name="Rechteck 101"/>
          <p:cNvSpPr/>
          <p:nvPr/>
        </p:nvSpPr>
        <p:spPr>
          <a:xfrm rot="5400000">
            <a:off x="4469471"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3" name="Rechteck 102"/>
          <p:cNvSpPr/>
          <p:nvPr/>
        </p:nvSpPr>
        <p:spPr>
          <a:xfrm rot="5400000">
            <a:off x="5141962"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4" name="Rechteck 103"/>
          <p:cNvSpPr/>
          <p:nvPr/>
        </p:nvSpPr>
        <p:spPr>
          <a:xfrm rot="5400000">
            <a:off x="5814453" y="148323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6" name="Rechteck 105"/>
          <p:cNvSpPr/>
          <p:nvPr/>
        </p:nvSpPr>
        <p:spPr>
          <a:xfrm rot="5400000">
            <a:off x="2788141"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7" name="Rechteck 106"/>
          <p:cNvSpPr/>
          <p:nvPr/>
        </p:nvSpPr>
        <p:spPr>
          <a:xfrm rot="5400000">
            <a:off x="3460631"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8" name="Rechteck 107"/>
          <p:cNvSpPr/>
          <p:nvPr/>
        </p:nvSpPr>
        <p:spPr>
          <a:xfrm rot="5400000">
            <a:off x="4133122"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9" name="Rechteck 108"/>
          <p:cNvSpPr/>
          <p:nvPr/>
        </p:nvSpPr>
        <p:spPr>
          <a:xfrm rot="5400000">
            <a:off x="4805614"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0" name="Rechteck 109"/>
          <p:cNvSpPr/>
          <p:nvPr/>
        </p:nvSpPr>
        <p:spPr>
          <a:xfrm rot="5400000">
            <a:off x="5478104"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2" name="Rechteck 111"/>
          <p:cNvSpPr/>
          <p:nvPr/>
        </p:nvSpPr>
        <p:spPr>
          <a:xfrm rot="5400000">
            <a:off x="6985142" y="1650347"/>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3" name="Rechteck 112"/>
          <p:cNvSpPr/>
          <p:nvPr/>
        </p:nvSpPr>
        <p:spPr>
          <a:xfrm rot="5400000">
            <a:off x="1612399" y="191646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grpSp>
        <p:nvGrpSpPr>
          <p:cNvPr id="13" name="Gruppieren 12"/>
          <p:cNvGrpSpPr/>
          <p:nvPr/>
        </p:nvGrpSpPr>
        <p:grpSpPr>
          <a:xfrm>
            <a:off x="2592558" y="2473314"/>
            <a:ext cx="623832" cy="232456"/>
            <a:chOff x="2808604" y="3297752"/>
            <a:chExt cx="675818" cy="309941"/>
          </a:xfrm>
        </p:grpSpPr>
        <p:sp>
          <p:nvSpPr>
            <p:cNvPr id="114" name="Rechteck 113"/>
            <p:cNvSpPr/>
            <p:nvPr/>
          </p:nvSpPr>
          <p:spPr>
            <a:xfrm rot="5400000">
              <a:off x="2809466" y="3296890"/>
              <a:ext cx="309941" cy="311666"/>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86" name="Rechteck 85"/>
            <p:cNvSpPr/>
            <p:nvPr/>
          </p:nvSpPr>
          <p:spPr>
            <a:xfrm rot="5400000">
              <a:off x="3173618" y="3296890"/>
              <a:ext cx="309941" cy="311666"/>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18" name="Gruppieren 17"/>
          <p:cNvGrpSpPr/>
          <p:nvPr/>
        </p:nvGrpSpPr>
        <p:grpSpPr>
          <a:xfrm>
            <a:off x="5282311" y="3003684"/>
            <a:ext cx="634149" cy="232456"/>
            <a:chOff x="5722501" y="4004910"/>
            <a:chExt cx="686995" cy="309941"/>
          </a:xfrm>
        </p:grpSpPr>
        <p:sp>
          <p:nvSpPr>
            <p:cNvPr id="49" name="Rechteck 48"/>
            <p:cNvSpPr/>
            <p:nvPr/>
          </p:nvSpPr>
          <p:spPr>
            <a:xfrm rot="5400000">
              <a:off x="5792250" y="3935161"/>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56" name="Rechteck 155"/>
            <p:cNvSpPr/>
            <p:nvPr/>
          </p:nvSpPr>
          <p:spPr>
            <a:xfrm rot="5400000">
              <a:off x="6158765" y="4060807"/>
              <a:ext cx="306060" cy="195403"/>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sp>
        <p:nvSpPr>
          <p:cNvPr id="228" name="Rechteck 227"/>
          <p:cNvSpPr/>
          <p:nvPr/>
        </p:nvSpPr>
        <p:spPr>
          <a:xfrm rot="5400000">
            <a:off x="1774810" y="359864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9" name="Rechteck 228"/>
          <p:cNvSpPr/>
          <p:nvPr/>
        </p:nvSpPr>
        <p:spPr>
          <a:xfrm rot="5400000">
            <a:off x="244730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0" name="Rechteck 229"/>
          <p:cNvSpPr/>
          <p:nvPr/>
        </p:nvSpPr>
        <p:spPr>
          <a:xfrm rot="5400000">
            <a:off x="311979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1" name="Rechteck 230"/>
          <p:cNvSpPr/>
          <p:nvPr/>
        </p:nvSpPr>
        <p:spPr>
          <a:xfrm rot="5400000">
            <a:off x="379228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2" name="Rechteck 231"/>
          <p:cNvSpPr/>
          <p:nvPr/>
        </p:nvSpPr>
        <p:spPr>
          <a:xfrm rot="5400000">
            <a:off x="4464770"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3" name="Rechteck 232"/>
          <p:cNvSpPr/>
          <p:nvPr/>
        </p:nvSpPr>
        <p:spPr>
          <a:xfrm rot="5400000">
            <a:off x="5137260"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4" name="Rechteck 233"/>
          <p:cNvSpPr/>
          <p:nvPr/>
        </p:nvSpPr>
        <p:spPr>
          <a:xfrm rot="5400000">
            <a:off x="5809750" y="359949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5" name="Rechteck 234"/>
          <p:cNvSpPr/>
          <p:nvPr/>
        </p:nvSpPr>
        <p:spPr>
          <a:xfrm rot="5400000">
            <a:off x="2110952" y="386389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6" name="Rechteck 235"/>
          <p:cNvSpPr/>
          <p:nvPr/>
        </p:nvSpPr>
        <p:spPr>
          <a:xfrm rot="5400000">
            <a:off x="278344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7" name="Rechteck 236"/>
          <p:cNvSpPr/>
          <p:nvPr/>
        </p:nvSpPr>
        <p:spPr>
          <a:xfrm rot="5400000">
            <a:off x="345593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8" name="Rechteck 237"/>
          <p:cNvSpPr/>
          <p:nvPr/>
        </p:nvSpPr>
        <p:spPr>
          <a:xfrm rot="5400000">
            <a:off x="412842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9" name="Rechteck 238"/>
          <p:cNvSpPr/>
          <p:nvPr/>
        </p:nvSpPr>
        <p:spPr>
          <a:xfrm rot="5400000">
            <a:off x="480091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0" name="Rechteck 239"/>
          <p:cNvSpPr/>
          <p:nvPr/>
        </p:nvSpPr>
        <p:spPr>
          <a:xfrm rot="5400000">
            <a:off x="5473402"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3" name="Rechteck 242"/>
          <p:cNvSpPr/>
          <p:nvPr/>
        </p:nvSpPr>
        <p:spPr>
          <a:xfrm rot="5400000">
            <a:off x="1607698" y="402741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0" name="Rechteck 249"/>
          <p:cNvSpPr/>
          <p:nvPr/>
        </p:nvSpPr>
        <p:spPr>
          <a:xfrm rot="5400000">
            <a:off x="6484929" y="148323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3" name="Rechteck 252"/>
          <p:cNvSpPr/>
          <p:nvPr/>
        </p:nvSpPr>
        <p:spPr>
          <a:xfrm rot="5400000">
            <a:off x="6143878"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2" name="Rechteck 51"/>
          <p:cNvSpPr/>
          <p:nvPr/>
        </p:nvSpPr>
        <p:spPr>
          <a:xfrm rot="5400000">
            <a:off x="6818029" y="2807444"/>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7" name="Rechteck 76"/>
          <p:cNvSpPr/>
          <p:nvPr/>
        </p:nvSpPr>
        <p:spPr>
          <a:xfrm rot="5400000">
            <a:off x="6818029" y="33359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1" name="Rechteck 90"/>
          <p:cNvSpPr/>
          <p:nvPr/>
        </p:nvSpPr>
        <p:spPr>
          <a:xfrm rot="5400000">
            <a:off x="6818029" y="227707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2" name="Rechteck 91"/>
          <p:cNvSpPr/>
          <p:nvPr/>
        </p:nvSpPr>
        <p:spPr>
          <a:xfrm rot="5400000">
            <a:off x="6985142" y="2709311"/>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3" name="Rechteck 92"/>
          <p:cNvSpPr/>
          <p:nvPr/>
        </p:nvSpPr>
        <p:spPr>
          <a:xfrm rot="5400000">
            <a:off x="6985142" y="2179814"/>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4" name="Rechteck 93"/>
          <p:cNvSpPr/>
          <p:nvPr/>
        </p:nvSpPr>
        <p:spPr>
          <a:xfrm rot="5400000">
            <a:off x="6985142" y="3237845"/>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1" name="Rechteck 240"/>
          <p:cNvSpPr/>
          <p:nvPr/>
        </p:nvSpPr>
        <p:spPr>
          <a:xfrm rot="5400000">
            <a:off x="6813330" y="386387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2" name="Rechteck 241"/>
          <p:cNvSpPr/>
          <p:nvPr/>
        </p:nvSpPr>
        <p:spPr>
          <a:xfrm rot="5400000">
            <a:off x="6980443" y="3766610"/>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4" name="Rechteck 243"/>
          <p:cNvSpPr/>
          <p:nvPr/>
        </p:nvSpPr>
        <p:spPr>
          <a:xfrm rot="5400000">
            <a:off x="6484929" y="2543069"/>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5" name="Rechteck 244"/>
          <p:cNvSpPr/>
          <p:nvPr/>
        </p:nvSpPr>
        <p:spPr>
          <a:xfrm rot="5400000">
            <a:off x="6156129" y="2806882"/>
            <a:ext cx="232456" cy="62605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6" name="Rechteck 245"/>
          <p:cNvSpPr/>
          <p:nvPr/>
        </p:nvSpPr>
        <p:spPr>
          <a:xfrm rot="5400000">
            <a:off x="6484929" y="30716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7" name="Rechteck 246"/>
          <p:cNvSpPr/>
          <p:nvPr/>
        </p:nvSpPr>
        <p:spPr>
          <a:xfrm rot="5400000">
            <a:off x="6148580"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8" name="Rechteck 247"/>
          <p:cNvSpPr/>
          <p:nvPr/>
        </p:nvSpPr>
        <p:spPr>
          <a:xfrm rot="5400000">
            <a:off x="6484929" y="20127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9" name="Rechteck 248"/>
          <p:cNvSpPr/>
          <p:nvPr/>
        </p:nvSpPr>
        <p:spPr>
          <a:xfrm rot="5400000">
            <a:off x="6148580"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grpSp>
        <p:nvGrpSpPr>
          <p:cNvPr id="21" name="Gruppieren 20"/>
          <p:cNvGrpSpPr/>
          <p:nvPr/>
        </p:nvGrpSpPr>
        <p:grpSpPr>
          <a:xfrm>
            <a:off x="6280379" y="3796005"/>
            <a:ext cx="629936" cy="232456"/>
            <a:chOff x="6803741" y="5054898"/>
            <a:chExt cx="682431" cy="309941"/>
          </a:xfrm>
        </p:grpSpPr>
        <p:sp>
          <p:nvSpPr>
            <p:cNvPr id="300" name="Rechteck 299"/>
            <p:cNvSpPr/>
            <p:nvPr/>
          </p:nvSpPr>
          <p:spPr>
            <a:xfrm rot="5400000" flipH="1">
              <a:off x="7106482" y="4985149"/>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02" name="Rechteck 301"/>
            <p:cNvSpPr/>
            <p:nvPr/>
          </p:nvSpPr>
          <p:spPr>
            <a:xfrm rot="5400000">
              <a:off x="6748413" y="5112898"/>
              <a:ext cx="306060" cy="19540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5" name="Gruppieren 24"/>
          <p:cNvGrpSpPr/>
          <p:nvPr/>
        </p:nvGrpSpPr>
        <p:grpSpPr>
          <a:xfrm>
            <a:off x="1787910" y="2185359"/>
            <a:ext cx="1255247" cy="271464"/>
            <a:chOff x="1936900" y="2913812"/>
            <a:chExt cx="1359851" cy="361952"/>
          </a:xfrm>
        </p:grpSpPr>
        <p:sp>
          <p:nvSpPr>
            <p:cNvPr id="190" name="Rechteck 189"/>
            <p:cNvSpPr/>
            <p:nvPr/>
          </p:nvSpPr>
          <p:spPr>
            <a:xfrm>
              <a:off x="1936900" y="2913812"/>
              <a:ext cx="1359851"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25" name="Inhaltsplatzhalter 12"/>
            <p:cNvSpPr txBox="1">
              <a:spLocks/>
            </p:cNvSpPr>
            <p:nvPr/>
          </p:nvSpPr>
          <p:spPr>
            <a:xfrm>
              <a:off x="1986855" y="2996052"/>
              <a:ext cx="1293076"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6"/>
                  </a:solidFill>
                </a:rPr>
                <a:t>Biomed</a:t>
              </a:r>
              <a:r>
                <a:rPr lang="de-DE" sz="1200" dirty="0">
                  <a:solidFill>
                    <a:schemeClr val="accent6"/>
                  </a:solidFill>
                </a:rPr>
                <a:t> Central</a:t>
              </a:r>
            </a:p>
          </p:txBody>
        </p:sp>
      </p:grpSp>
      <p:grpSp>
        <p:nvGrpSpPr>
          <p:cNvPr id="27" name="Gruppieren 26"/>
          <p:cNvGrpSpPr/>
          <p:nvPr/>
        </p:nvGrpSpPr>
        <p:grpSpPr>
          <a:xfrm>
            <a:off x="5266253" y="2455195"/>
            <a:ext cx="546007" cy="271464"/>
            <a:chOff x="5705105" y="3273593"/>
            <a:chExt cx="591508" cy="361952"/>
          </a:xfrm>
        </p:grpSpPr>
        <p:sp>
          <p:nvSpPr>
            <p:cNvPr id="192" name="Rechteck 191"/>
            <p:cNvSpPr/>
            <p:nvPr/>
          </p:nvSpPr>
          <p:spPr>
            <a:xfrm>
              <a:off x="5705105" y="3273593"/>
              <a:ext cx="576337"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07" name="Inhaltsplatzhalter 12"/>
            <p:cNvSpPr txBox="1">
              <a:spLocks/>
            </p:cNvSpPr>
            <p:nvPr/>
          </p:nvSpPr>
          <p:spPr>
            <a:xfrm>
              <a:off x="5761989" y="3347298"/>
              <a:ext cx="534624"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6"/>
                  </a:solidFill>
                </a:rPr>
                <a:t>PLOS</a:t>
              </a:r>
            </a:p>
          </p:txBody>
        </p:sp>
      </p:grpSp>
      <p:grpSp>
        <p:nvGrpSpPr>
          <p:cNvPr id="29" name="Gruppieren 28"/>
          <p:cNvGrpSpPr/>
          <p:nvPr/>
        </p:nvGrpSpPr>
        <p:grpSpPr>
          <a:xfrm>
            <a:off x="5672180" y="1922113"/>
            <a:ext cx="704994" cy="271464"/>
            <a:chOff x="6144861" y="2562817"/>
            <a:chExt cx="763744" cy="361952"/>
          </a:xfrm>
        </p:grpSpPr>
        <p:sp>
          <p:nvSpPr>
            <p:cNvPr id="193" name="Rechteck 192"/>
            <p:cNvSpPr/>
            <p:nvPr/>
          </p:nvSpPr>
          <p:spPr>
            <a:xfrm>
              <a:off x="6144861" y="2562817"/>
              <a:ext cx="763744"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accent4"/>
                </a:solidFill>
              </a:endParaRPr>
            </a:p>
          </p:txBody>
        </p:sp>
        <p:sp>
          <p:nvSpPr>
            <p:cNvPr id="308" name="Inhaltsplatzhalter 12"/>
            <p:cNvSpPr txBox="1">
              <a:spLocks/>
            </p:cNvSpPr>
            <p:nvPr/>
          </p:nvSpPr>
          <p:spPr>
            <a:xfrm>
              <a:off x="6159036" y="2652456"/>
              <a:ext cx="710274"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4"/>
                  </a:solidFill>
                </a:rPr>
                <a:t>SCOAP</a:t>
              </a:r>
              <a:r>
                <a:rPr lang="de-DE" sz="1200" baseline="30000" dirty="0">
                  <a:solidFill>
                    <a:schemeClr val="accent4"/>
                  </a:solidFill>
                </a:rPr>
                <a:t>3</a:t>
              </a:r>
            </a:p>
          </p:txBody>
        </p:sp>
      </p:grpSp>
      <p:grpSp>
        <p:nvGrpSpPr>
          <p:cNvPr id="282" name="Gruppieren 281"/>
          <p:cNvGrpSpPr/>
          <p:nvPr/>
        </p:nvGrpSpPr>
        <p:grpSpPr>
          <a:xfrm>
            <a:off x="5948279" y="2981583"/>
            <a:ext cx="1347294" cy="271464"/>
            <a:chOff x="6443967" y="3975444"/>
            <a:chExt cx="1459568" cy="361952"/>
          </a:xfrm>
        </p:grpSpPr>
        <p:sp>
          <p:nvSpPr>
            <p:cNvPr id="211" name="Rechteck 210"/>
            <p:cNvSpPr/>
            <p:nvPr/>
          </p:nvSpPr>
          <p:spPr>
            <a:xfrm>
              <a:off x="6443967" y="3975444"/>
              <a:ext cx="1459568"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accent4"/>
                </a:solidFill>
              </a:endParaRPr>
            </a:p>
          </p:txBody>
        </p:sp>
        <p:sp>
          <p:nvSpPr>
            <p:cNvPr id="309" name="Inhaltsplatzhalter 12"/>
            <p:cNvSpPr txBox="1">
              <a:spLocks/>
            </p:cNvSpPr>
            <p:nvPr/>
          </p:nvSpPr>
          <p:spPr>
            <a:xfrm>
              <a:off x="6482739" y="4052651"/>
              <a:ext cx="1293076"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4"/>
                  </a:solidFill>
                </a:rPr>
                <a:t>PubMed</a:t>
              </a:r>
              <a:r>
                <a:rPr lang="de-DE" sz="1200" dirty="0">
                  <a:solidFill>
                    <a:schemeClr val="accent4"/>
                  </a:solidFill>
                </a:rPr>
                <a:t> Central</a:t>
              </a:r>
            </a:p>
          </p:txBody>
        </p:sp>
      </p:grpSp>
      <p:grpSp>
        <p:nvGrpSpPr>
          <p:cNvPr id="26" name="Gruppieren 25"/>
          <p:cNvGrpSpPr/>
          <p:nvPr/>
        </p:nvGrpSpPr>
        <p:grpSpPr>
          <a:xfrm>
            <a:off x="3253593" y="2455195"/>
            <a:ext cx="1104264" cy="271464"/>
            <a:chOff x="3524726" y="3273593"/>
            <a:chExt cx="1196286" cy="361952"/>
          </a:xfrm>
        </p:grpSpPr>
        <p:sp>
          <p:nvSpPr>
            <p:cNvPr id="191" name="Rechteck 190"/>
            <p:cNvSpPr/>
            <p:nvPr/>
          </p:nvSpPr>
          <p:spPr>
            <a:xfrm>
              <a:off x="3524726" y="3273593"/>
              <a:ext cx="1189197"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accent4"/>
                </a:solidFill>
              </a:endParaRPr>
            </a:p>
          </p:txBody>
        </p:sp>
        <p:sp>
          <p:nvSpPr>
            <p:cNvPr id="310" name="Inhaltsplatzhalter 12"/>
            <p:cNvSpPr txBox="1">
              <a:spLocks/>
            </p:cNvSpPr>
            <p:nvPr/>
          </p:nvSpPr>
          <p:spPr>
            <a:xfrm>
              <a:off x="3570524" y="3347985"/>
              <a:ext cx="1150488"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4"/>
                  </a:solidFill>
                </a:rPr>
                <a:t>OA </a:t>
              </a:r>
              <a:r>
                <a:rPr lang="de-DE" sz="1200" dirty="0" err="1">
                  <a:solidFill>
                    <a:schemeClr val="accent4"/>
                  </a:solidFill>
                </a:rPr>
                <a:t>mandates</a:t>
              </a:r>
              <a:endParaRPr lang="de-DE" sz="1200" dirty="0">
                <a:solidFill>
                  <a:schemeClr val="accent4"/>
                </a:solidFill>
              </a:endParaRPr>
            </a:p>
          </p:txBody>
        </p:sp>
      </p:grpSp>
      <p:grpSp>
        <p:nvGrpSpPr>
          <p:cNvPr id="24" name="Gruppieren 23"/>
          <p:cNvGrpSpPr/>
          <p:nvPr/>
        </p:nvGrpSpPr>
        <p:grpSpPr>
          <a:xfrm>
            <a:off x="2119952" y="1922113"/>
            <a:ext cx="1829116" cy="266148"/>
            <a:chOff x="2296615" y="2562817"/>
            <a:chExt cx="1981542" cy="354864"/>
          </a:xfrm>
        </p:grpSpPr>
        <p:sp>
          <p:nvSpPr>
            <p:cNvPr id="3" name="Rechteck 2"/>
            <p:cNvSpPr/>
            <p:nvPr/>
          </p:nvSpPr>
          <p:spPr>
            <a:xfrm>
              <a:off x="2296615" y="2562817"/>
              <a:ext cx="1942694" cy="354864"/>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12" name="Inhaltsplatzhalter 12"/>
            <p:cNvSpPr txBox="1">
              <a:spLocks/>
            </p:cNvSpPr>
            <p:nvPr/>
          </p:nvSpPr>
          <p:spPr>
            <a:xfrm>
              <a:off x="2348121" y="2641410"/>
              <a:ext cx="1930036"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6"/>
                  </a:solidFill>
                </a:rPr>
                <a:t>University Presses/OJS</a:t>
              </a:r>
              <a:endParaRPr lang="de-DE" sz="1200" baseline="30000" dirty="0">
                <a:solidFill>
                  <a:schemeClr val="accent6"/>
                </a:solidFill>
              </a:endParaRPr>
            </a:p>
          </p:txBody>
        </p:sp>
      </p:grpSp>
      <p:grpSp>
        <p:nvGrpSpPr>
          <p:cNvPr id="44" name="Gruppieren 43"/>
          <p:cNvGrpSpPr/>
          <p:nvPr/>
        </p:nvGrpSpPr>
        <p:grpSpPr>
          <a:xfrm>
            <a:off x="2904578" y="3777533"/>
            <a:ext cx="3370896" cy="271464"/>
            <a:chOff x="3146626" y="5036711"/>
            <a:chExt cx="3651804" cy="361952"/>
          </a:xfrm>
        </p:grpSpPr>
        <p:sp>
          <p:nvSpPr>
            <p:cNvPr id="220" name="Rechteck 219"/>
            <p:cNvSpPr/>
            <p:nvPr/>
          </p:nvSpPr>
          <p:spPr>
            <a:xfrm>
              <a:off x="3146626" y="5036711"/>
              <a:ext cx="3635154"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13" name="Inhaltsplatzhalter 12"/>
            <p:cNvSpPr txBox="1">
              <a:spLocks/>
            </p:cNvSpPr>
            <p:nvPr/>
          </p:nvSpPr>
          <p:spPr>
            <a:xfrm>
              <a:off x="3296752" y="5102015"/>
              <a:ext cx="3501678"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6"/>
                  </a:solidFill>
                </a:rPr>
                <a:t>Community </a:t>
              </a:r>
              <a:r>
                <a:rPr lang="de-DE" sz="1200" dirty="0" err="1">
                  <a:solidFill>
                    <a:schemeClr val="accent6"/>
                  </a:solidFill>
                </a:rPr>
                <a:t>journal</a:t>
              </a:r>
              <a:r>
                <a:rPr lang="de-DE" sz="1200" dirty="0">
                  <a:solidFill>
                    <a:schemeClr val="accent6"/>
                  </a:solidFill>
                </a:rPr>
                <a:t> initiatives (e.g. LINGOA)</a:t>
              </a:r>
              <a:endParaRPr lang="de-DE" sz="1200" baseline="30000" dirty="0">
                <a:solidFill>
                  <a:schemeClr val="accent6"/>
                </a:solidFill>
              </a:endParaRPr>
            </a:p>
          </p:txBody>
        </p:sp>
      </p:grpSp>
      <p:grpSp>
        <p:nvGrpSpPr>
          <p:cNvPr id="35" name="Gruppieren 34"/>
          <p:cNvGrpSpPr/>
          <p:nvPr/>
        </p:nvGrpSpPr>
        <p:grpSpPr>
          <a:xfrm>
            <a:off x="2460013" y="3247196"/>
            <a:ext cx="1778093" cy="271464"/>
            <a:chOff x="2665012" y="4329594"/>
            <a:chExt cx="1926267" cy="361952"/>
          </a:xfrm>
        </p:grpSpPr>
        <p:sp>
          <p:nvSpPr>
            <p:cNvPr id="212" name="Rechteck 211"/>
            <p:cNvSpPr/>
            <p:nvPr/>
          </p:nvSpPr>
          <p:spPr>
            <a:xfrm>
              <a:off x="2665012" y="4329594"/>
              <a:ext cx="1926267"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accent4"/>
                </a:solidFill>
              </a:endParaRPr>
            </a:p>
          </p:txBody>
        </p:sp>
        <p:sp>
          <p:nvSpPr>
            <p:cNvPr id="314" name="Inhaltsplatzhalter 12"/>
            <p:cNvSpPr txBox="1">
              <a:spLocks/>
            </p:cNvSpPr>
            <p:nvPr/>
          </p:nvSpPr>
          <p:spPr>
            <a:xfrm>
              <a:off x="2724212" y="4407781"/>
              <a:ext cx="1667760"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4"/>
                  </a:solidFill>
                </a:rPr>
                <a:t>Cooperative</a:t>
              </a:r>
              <a:r>
                <a:rPr lang="de-DE" sz="1200" dirty="0">
                  <a:solidFill>
                    <a:schemeClr val="accent4"/>
                  </a:solidFill>
                </a:rPr>
                <a:t> </a:t>
              </a:r>
              <a:r>
                <a:rPr lang="de-DE" sz="1200" dirty="0" err="1">
                  <a:solidFill>
                    <a:schemeClr val="accent4"/>
                  </a:solidFill>
                </a:rPr>
                <a:t>models</a:t>
              </a:r>
              <a:endParaRPr lang="de-DE" sz="1200" baseline="30000" dirty="0">
                <a:solidFill>
                  <a:schemeClr val="accent4"/>
                </a:solidFill>
              </a:endParaRPr>
            </a:p>
          </p:txBody>
        </p:sp>
      </p:grpSp>
      <p:grpSp>
        <p:nvGrpSpPr>
          <p:cNvPr id="30" name="Gruppieren 29"/>
          <p:cNvGrpSpPr/>
          <p:nvPr/>
        </p:nvGrpSpPr>
        <p:grpSpPr>
          <a:xfrm>
            <a:off x="6601154" y="1922182"/>
            <a:ext cx="427002" cy="271464"/>
            <a:chOff x="7158338" y="2562909"/>
            <a:chExt cx="462586" cy="361952"/>
          </a:xfrm>
        </p:grpSpPr>
        <p:sp>
          <p:nvSpPr>
            <p:cNvPr id="200" name="Rechteck 199"/>
            <p:cNvSpPr/>
            <p:nvPr/>
          </p:nvSpPr>
          <p:spPr>
            <a:xfrm>
              <a:off x="7158338" y="2562909"/>
              <a:ext cx="462586"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15" name="Inhaltsplatzhalter 12"/>
            <p:cNvSpPr txBox="1">
              <a:spLocks/>
            </p:cNvSpPr>
            <p:nvPr/>
          </p:nvSpPr>
          <p:spPr>
            <a:xfrm>
              <a:off x="7190837" y="2641410"/>
              <a:ext cx="419741"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6"/>
                  </a:solidFill>
                </a:rPr>
                <a:t>arXiv</a:t>
              </a:r>
              <a:endParaRPr lang="de-DE" sz="1200" dirty="0">
                <a:solidFill>
                  <a:schemeClr val="accent6"/>
                </a:solidFill>
              </a:endParaRPr>
            </a:p>
          </p:txBody>
        </p:sp>
      </p:grpSp>
      <p:sp>
        <p:nvSpPr>
          <p:cNvPr id="76" name="Textplatzhalter 75"/>
          <p:cNvSpPr>
            <a:spLocks noGrp="1"/>
          </p:cNvSpPr>
          <p:nvPr>
            <p:ph type="body" sz="quarter" idx="13"/>
          </p:nvPr>
        </p:nvSpPr>
        <p:spPr>
          <a:xfrm>
            <a:off x="279085" y="319711"/>
            <a:ext cx="6623160" cy="523253"/>
          </a:xfrm>
        </p:spPr>
        <p:txBody>
          <a:bodyPr/>
          <a:lstStyle/>
          <a:p>
            <a:r>
              <a:rPr lang="en-US" dirty="0" smtClean="0"/>
              <a:t>After 15 years of OA movement, </a:t>
            </a:r>
            <a:br>
              <a:rPr lang="en-US" dirty="0" smtClean="0"/>
            </a:br>
            <a:r>
              <a:rPr lang="en-US" dirty="0" smtClean="0"/>
              <a:t>the paywall system remains largely unaffected</a:t>
            </a:r>
            <a:endParaRPr lang="en-US" dirty="0"/>
          </a:p>
        </p:txBody>
      </p:sp>
      <p:sp>
        <p:nvSpPr>
          <p:cNvPr id="8" name="Foliennummernplatzhalter 4"/>
          <p:cNvSpPr>
            <a:spLocks noGrp="1"/>
          </p:cNvSpPr>
          <p:nvPr>
            <p:ph type="sldNum" sz="quarter" idx="12"/>
          </p:nvPr>
        </p:nvSpPr>
        <p:spPr>
          <a:xfrm>
            <a:off x="8244408" y="4994609"/>
            <a:ext cx="714380" cy="125373"/>
          </a:xfrm>
        </p:spPr>
        <p:txBody>
          <a:bodyPr/>
          <a:lstStyle/>
          <a:p>
            <a:fld id="{4AD1E780-DE1C-4ECA-B5E5-863D0BC53287}" type="slidenum">
              <a:rPr lang="de-DE" smtClean="0">
                <a:solidFill>
                  <a:prstClr val="black">
                    <a:tint val="75000"/>
                  </a:prstClr>
                </a:solidFill>
              </a:rPr>
              <a:pPr/>
              <a:t>10</a:t>
            </a:fld>
            <a:endParaRPr lang="de-DE" dirty="0">
              <a:solidFill>
                <a:prstClr val="black">
                  <a:tint val="75000"/>
                </a:prstClr>
              </a:solidFill>
            </a:endParaRPr>
          </a:p>
        </p:txBody>
      </p:sp>
      <p:grpSp>
        <p:nvGrpSpPr>
          <p:cNvPr id="5" name="Gruppieren 4"/>
          <p:cNvGrpSpPr/>
          <p:nvPr/>
        </p:nvGrpSpPr>
        <p:grpSpPr>
          <a:xfrm>
            <a:off x="4271551" y="2738438"/>
            <a:ext cx="626168" cy="233137"/>
            <a:chOff x="4627513" y="3651248"/>
            <a:chExt cx="678349" cy="310849"/>
          </a:xfrm>
        </p:grpSpPr>
        <p:sp>
          <p:nvSpPr>
            <p:cNvPr id="39" name="Rechteck 38"/>
            <p:cNvSpPr/>
            <p:nvPr/>
          </p:nvSpPr>
          <p:spPr>
            <a:xfrm rot="5400000">
              <a:off x="4994945" y="3650272"/>
              <a:ext cx="309941" cy="311893"/>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18" name="Rechteck 117"/>
            <p:cNvSpPr/>
            <p:nvPr/>
          </p:nvSpPr>
          <p:spPr>
            <a:xfrm rot="5400000">
              <a:off x="4628375" y="3651294"/>
              <a:ext cx="309941" cy="31166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31" name="Gruppieren 30"/>
          <p:cNvGrpSpPr/>
          <p:nvPr/>
        </p:nvGrpSpPr>
        <p:grpSpPr>
          <a:xfrm>
            <a:off x="4599559" y="2716472"/>
            <a:ext cx="994770" cy="271464"/>
            <a:chOff x="4982855" y="3621963"/>
            <a:chExt cx="1077668" cy="361952"/>
          </a:xfrm>
        </p:grpSpPr>
        <p:sp>
          <p:nvSpPr>
            <p:cNvPr id="203" name="Rechteck 202"/>
            <p:cNvSpPr/>
            <p:nvPr/>
          </p:nvSpPr>
          <p:spPr>
            <a:xfrm>
              <a:off x="4982855" y="3621963"/>
              <a:ext cx="1077668"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11" name="Inhaltsplatzhalter 12"/>
            <p:cNvSpPr txBox="1">
              <a:spLocks/>
            </p:cNvSpPr>
            <p:nvPr/>
          </p:nvSpPr>
          <p:spPr>
            <a:xfrm>
              <a:off x="5040904" y="3690815"/>
              <a:ext cx="1001026"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6"/>
                  </a:solidFill>
                </a:rPr>
                <a:t>Repositories</a:t>
              </a:r>
              <a:endParaRPr lang="de-DE" sz="1200" dirty="0">
                <a:solidFill>
                  <a:schemeClr val="accent6"/>
                </a:solidFill>
              </a:endParaRPr>
            </a:p>
          </p:txBody>
        </p:sp>
      </p:grpSp>
    </p:spTree>
    <p:extLst>
      <p:ext uri="{BB962C8B-B14F-4D97-AF65-F5344CB8AC3E}">
        <p14:creationId xmlns:p14="http://schemas.microsoft.com/office/powerpoint/2010/main" val="6823273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70"/>
                                        </p:tgtEl>
                                      </p:cBhvr>
                                    </p:animEffect>
                                    <p:set>
                                      <p:cBhvr>
                                        <p:cTn id="7" dur="1" fill="hold">
                                          <p:stCondLst>
                                            <p:cond delay="499"/>
                                          </p:stCondLst>
                                        </p:cTn>
                                        <p:tgtEl>
                                          <p:spTgt spid="170"/>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267"/>
                                        </p:tgtEl>
                                        <p:attrNameLst>
                                          <p:attrName>style.visibility</p:attrName>
                                        </p:attrNameLst>
                                      </p:cBhvr>
                                      <p:to>
                                        <p:strVal val="visible"/>
                                      </p:to>
                                    </p:set>
                                    <p:animEffect transition="in" filter="fade">
                                      <p:cBhvr>
                                        <p:cTn id="10" dur="500"/>
                                        <p:tgtEl>
                                          <p:spTgt spid="267"/>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xit" presetSubtype="0" fill="hold" grpId="0" nodeType="clickEffect">
                                  <p:stCondLst>
                                    <p:cond delay="0"/>
                                  </p:stCondLst>
                                  <p:childTnLst>
                                    <p:animEffect transition="out" filter="fade">
                                      <p:cBhvr>
                                        <p:cTn id="17" dur="500"/>
                                        <p:tgtEl>
                                          <p:spTgt spid="171"/>
                                        </p:tgtEl>
                                      </p:cBhvr>
                                    </p:animEffect>
                                    <p:set>
                                      <p:cBhvr>
                                        <p:cTn id="18" dur="1" fill="hold">
                                          <p:stCondLst>
                                            <p:cond delay="499"/>
                                          </p:stCondLst>
                                        </p:cTn>
                                        <p:tgtEl>
                                          <p:spTgt spid="171"/>
                                        </p:tgtEl>
                                        <p:attrNameLst>
                                          <p:attrName>style.visibility</p:attrName>
                                        </p:attrNameLst>
                                      </p:cBhvr>
                                      <p:to>
                                        <p:strVal val="hidden"/>
                                      </p:to>
                                    </p:set>
                                  </p:childTnLst>
                                </p:cTn>
                              </p:par>
                              <p:par>
                                <p:cTn id="19" presetID="10" presetClass="entr" presetSubtype="0" fill="hold" nodeType="withEffect">
                                  <p:stCondLst>
                                    <p:cond delay="0"/>
                                  </p:stCondLst>
                                  <p:childTnLst>
                                    <p:set>
                                      <p:cBhvr>
                                        <p:cTn id="20" dur="1" fill="hold">
                                          <p:stCondLst>
                                            <p:cond delay="0"/>
                                          </p:stCondLst>
                                        </p:cTn>
                                        <p:tgtEl>
                                          <p:spTgt spid="275"/>
                                        </p:tgtEl>
                                        <p:attrNameLst>
                                          <p:attrName>style.visibility</p:attrName>
                                        </p:attrNameLst>
                                      </p:cBhvr>
                                      <p:to>
                                        <p:strVal val="visible"/>
                                      </p:to>
                                    </p:set>
                                    <p:animEffect transition="in" filter="fade">
                                      <p:cBhvr>
                                        <p:cTn id="21" dur="500"/>
                                        <p:tgtEl>
                                          <p:spTgt spid="275"/>
                                        </p:tgtEl>
                                      </p:cBhvr>
                                    </p:animEffect>
                                  </p:childTnLst>
                                </p:cTn>
                              </p:par>
                              <p:par>
                                <p:cTn id="22" presetID="10" presetClass="entr" presetSubtype="0" fill="hold" nodeType="withEffect">
                                  <p:stCondLst>
                                    <p:cond delay="0"/>
                                  </p:stCondLst>
                                  <p:childTnLst>
                                    <p:set>
                                      <p:cBhvr>
                                        <p:cTn id="23" dur="1" fill="hold">
                                          <p:stCondLst>
                                            <p:cond delay="0"/>
                                          </p:stCondLst>
                                        </p:cTn>
                                        <p:tgtEl>
                                          <p:spTgt spid="29"/>
                                        </p:tgtEl>
                                        <p:attrNameLst>
                                          <p:attrName>style.visibility</p:attrName>
                                        </p:attrNameLst>
                                      </p:cBhvr>
                                      <p:to>
                                        <p:strVal val="visible"/>
                                      </p:to>
                                    </p:set>
                                    <p:animEffect transition="in" filter="fade">
                                      <p:cBhvr>
                                        <p:cTn id="24" dur="500"/>
                                        <p:tgtEl>
                                          <p:spTgt spid="29"/>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xit" presetSubtype="0" fill="hold" grpId="0" nodeType="clickEffect">
                                  <p:stCondLst>
                                    <p:cond delay="0"/>
                                  </p:stCondLst>
                                  <p:childTnLst>
                                    <p:animEffect transition="out" filter="fade">
                                      <p:cBhvr>
                                        <p:cTn id="28" dur="500"/>
                                        <p:tgtEl>
                                          <p:spTgt spid="172"/>
                                        </p:tgtEl>
                                      </p:cBhvr>
                                    </p:animEffect>
                                    <p:set>
                                      <p:cBhvr>
                                        <p:cTn id="29" dur="1" fill="hold">
                                          <p:stCondLst>
                                            <p:cond delay="499"/>
                                          </p:stCondLst>
                                        </p:cTn>
                                        <p:tgtEl>
                                          <p:spTgt spid="172"/>
                                        </p:tgtEl>
                                        <p:attrNameLst>
                                          <p:attrName>style.visibility</p:attrName>
                                        </p:attrNameLst>
                                      </p:cBhvr>
                                      <p:to>
                                        <p:strVal val="hidden"/>
                                      </p:to>
                                    </p:set>
                                  </p:childTnLst>
                                </p:cTn>
                              </p:par>
                              <p:par>
                                <p:cTn id="30" presetID="10" presetClass="entr" presetSubtype="0" fill="hold" nodeType="with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500"/>
                                        <p:tgtEl>
                                          <p:spTgt spid="22"/>
                                        </p:tgtEl>
                                      </p:cBhvr>
                                    </p:animEffect>
                                  </p:childTnLst>
                                </p:cTn>
                              </p:par>
                              <p:par>
                                <p:cTn id="33" presetID="10" presetClass="entr" presetSubtype="0" fill="hold" nodeType="withEffect">
                                  <p:stCondLst>
                                    <p:cond delay="0"/>
                                  </p:stCondLst>
                                  <p:childTnLst>
                                    <p:set>
                                      <p:cBhvr>
                                        <p:cTn id="34" dur="1" fill="hold">
                                          <p:stCondLst>
                                            <p:cond delay="0"/>
                                          </p:stCondLst>
                                        </p:cTn>
                                        <p:tgtEl>
                                          <p:spTgt spid="30"/>
                                        </p:tgtEl>
                                        <p:attrNameLst>
                                          <p:attrName>style.visibility</p:attrName>
                                        </p:attrNameLst>
                                      </p:cBhvr>
                                      <p:to>
                                        <p:strVal val="visible"/>
                                      </p:to>
                                    </p:set>
                                    <p:animEffect transition="in" filter="fade">
                                      <p:cBhvr>
                                        <p:cTn id="35" dur="500"/>
                                        <p:tgtEl>
                                          <p:spTgt spid="30"/>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xit" presetSubtype="0" fill="hold" grpId="0" nodeType="clickEffect">
                                  <p:stCondLst>
                                    <p:cond delay="0"/>
                                  </p:stCondLst>
                                  <p:childTnLst>
                                    <p:animEffect transition="out" filter="fade">
                                      <p:cBhvr>
                                        <p:cTn id="39" dur="500"/>
                                        <p:tgtEl>
                                          <p:spTgt spid="169"/>
                                        </p:tgtEl>
                                      </p:cBhvr>
                                    </p:animEffect>
                                    <p:set>
                                      <p:cBhvr>
                                        <p:cTn id="40" dur="1" fill="hold">
                                          <p:stCondLst>
                                            <p:cond delay="499"/>
                                          </p:stCondLst>
                                        </p:cTn>
                                        <p:tgtEl>
                                          <p:spTgt spid="169"/>
                                        </p:tgtEl>
                                        <p:attrNameLst>
                                          <p:attrName>style.visibility</p:attrName>
                                        </p:attrNameLst>
                                      </p:cBhvr>
                                      <p:to>
                                        <p:strVal val="hidden"/>
                                      </p:to>
                                    </p:set>
                                  </p:childTnLst>
                                </p:cTn>
                              </p:par>
                              <p:par>
                                <p:cTn id="41" presetID="10" presetClass="entr" presetSubtype="0" fill="hold" nodeType="withEffect">
                                  <p:stCondLst>
                                    <p:cond delay="0"/>
                                  </p:stCondLst>
                                  <p:childTnLst>
                                    <p:set>
                                      <p:cBhvr>
                                        <p:cTn id="42" dur="1" fill="hold">
                                          <p:stCondLst>
                                            <p:cond delay="0"/>
                                          </p:stCondLst>
                                        </p:cTn>
                                        <p:tgtEl>
                                          <p:spTgt spid="268"/>
                                        </p:tgtEl>
                                        <p:attrNameLst>
                                          <p:attrName>style.visibility</p:attrName>
                                        </p:attrNameLst>
                                      </p:cBhvr>
                                      <p:to>
                                        <p:strVal val="visible"/>
                                      </p:to>
                                    </p:set>
                                    <p:animEffect transition="in" filter="fade">
                                      <p:cBhvr>
                                        <p:cTn id="43" dur="500"/>
                                        <p:tgtEl>
                                          <p:spTgt spid="268"/>
                                        </p:tgtEl>
                                      </p:cBhvr>
                                    </p:animEffect>
                                  </p:childTnLst>
                                </p:cTn>
                              </p:par>
                              <p:par>
                                <p:cTn id="44" presetID="10" presetClass="entr" presetSubtype="0" fill="hold"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xit" presetSubtype="0" fill="hold" grpId="0" nodeType="clickEffect">
                                  <p:stCondLst>
                                    <p:cond delay="0"/>
                                  </p:stCondLst>
                                  <p:childTnLst>
                                    <p:animEffect transition="out" filter="fade">
                                      <p:cBhvr>
                                        <p:cTn id="50" dur="500"/>
                                        <p:tgtEl>
                                          <p:spTgt spid="178"/>
                                        </p:tgtEl>
                                      </p:cBhvr>
                                    </p:animEffect>
                                    <p:set>
                                      <p:cBhvr>
                                        <p:cTn id="51" dur="1" fill="hold">
                                          <p:stCondLst>
                                            <p:cond delay="499"/>
                                          </p:stCondLst>
                                        </p:cTn>
                                        <p:tgtEl>
                                          <p:spTgt spid="178"/>
                                        </p:tgtEl>
                                        <p:attrNameLst>
                                          <p:attrName>style.visibility</p:attrName>
                                        </p:attrNameLst>
                                      </p:cBhvr>
                                      <p:to>
                                        <p:strVal val="hidden"/>
                                      </p:to>
                                    </p:set>
                                  </p:childTnLst>
                                </p:cTn>
                              </p:par>
                              <p:par>
                                <p:cTn id="52" presetID="10" presetClass="entr" presetSubtype="0" fill="hold" nodeType="withEffect">
                                  <p:stCondLst>
                                    <p:cond delay="0"/>
                                  </p:stCondLst>
                                  <p:childTnLst>
                                    <p:set>
                                      <p:cBhvr>
                                        <p:cTn id="53" dur="1" fill="hold">
                                          <p:stCondLst>
                                            <p:cond delay="0"/>
                                          </p:stCondLst>
                                        </p:cTn>
                                        <p:tgtEl>
                                          <p:spTgt spid="13"/>
                                        </p:tgtEl>
                                        <p:attrNameLst>
                                          <p:attrName>style.visibility</p:attrName>
                                        </p:attrNameLst>
                                      </p:cBhvr>
                                      <p:to>
                                        <p:strVal val="visible"/>
                                      </p:to>
                                    </p:set>
                                    <p:animEffect transition="in" filter="fade">
                                      <p:cBhvr>
                                        <p:cTn id="54" dur="500"/>
                                        <p:tgtEl>
                                          <p:spTgt spid="13"/>
                                        </p:tgtEl>
                                      </p:cBhvr>
                                    </p:animEffect>
                                  </p:childTnLst>
                                </p:cTn>
                              </p:par>
                              <p:par>
                                <p:cTn id="55" presetID="10" presetClass="entr" presetSubtype="0" fill="hold" nodeType="withEffect">
                                  <p:stCondLst>
                                    <p:cond delay="0"/>
                                  </p:stCondLst>
                                  <p:childTnLst>
                                    <p:set>
                                      <p:cBhvr>
                                        <p:cTn id="56" dur="1" fill="hold">
                                          <p:stCondLst>
                                            <p:cond delay="0"/>
                                          </p:stCondLst>
                                        </p:cTn>
                                        <p:tgtEl>
                                          <p:spTgt spid="26"/>
                                        </p:tgtEl>
                                        <p:attrNameLst>
                                          <p:attrName>style.visibility</p:attrName>
                                        </p:attrNameLst>
                                      </p:cBhvr>
                                      <p:to>
                                        <p:strVal val="visible"/>
                                      </p:to>
                                    </p:set>
                                    <p:animEffect transition="in" filter="fade">
                                      <p:cBhvr>
                                        <p:cTn id="57" dur="500"/>
                                        <p:tgtEl>
                                          <p:spTgt spid="26"/>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xit" presetSubtype="0" fill="hold" grpId="0" nodeType="clickEffect">
                                  <p:stCondLst>
                                    <p:cond delay="0"/>
                                  </p:stCondLst>
                                  <p:childTnLst>
                                    <p:animEffect transition="out" filter="fade">
                                      <p:cBhvr>
                                        <p:cTn id="61" dur="500"/>
                                        <p:tgtEl>
                                          <p:spTgt spid="174"/>
                                        </p:tgtEl>
                                      </p:cBhvr>
                                    </p:animEffect>
                                    <p:set>
                                      <p:cBhvr>
                                        <p:cTn id="62" dur="1" fill="hold">
                                          <p:stCondLst>
                                            <p:cond delay="499"/>
                                          </p:stCondLst>
                                        </p:cTn>
                                        <p:tgtEl>
                                          <p:spTgt spid="174"/>
                                        </p:tgtEl>
                                        <p:attrNameLst>
                                          <p:attrName>style.visibility</p:attrName>
                                        </p:attrNameLst>
                                      </p:cBhvr>
                                      <p:to>
                                        <p:strVal val="hidden"/>
                                      </p:to>
                                    </p:set>
                                  </p:childTnLst>
                                </p:cTn>
                              </p:par>
                              <p:par>
                                <p:cTn id="63" presetID="10" presetClass="entr" presetSubtype="0" fill="hold" nodeType="withEffect">
                                  <p:stCondLst>
                                    <p:cond delay="0"/>
                                  </p:stCondLst>
                                  <p:childTnLst>
                                    <p:set>
                                      <p:cBhvr>
                                        <p:cTn id="64" dur="1" fill="hold">
                                          <p:stCondLst>
                                            <p:cond delay="0"/>
                                          </p:stCondLst>
                                        </p:cTn>
                                        <p:tgtEl>
                                          <p:spTgt spid="295"/>
                                        </p:tgtEl>
                                        <p:attrNameLst>
                                          <p:attrName>style.visibility</p:attrName>
                                        </p:attrNameLst>
                                      </p:cBhvr>
                                      <p:to>
                                        <p:strVal val="visible"/>
                                      </p:to>
                                    </p:set>
                                    <p:animEffect transition="in" filter="fade">
                                      <p:cBhvr>
                                        <p:cTn id="65" dur="500"/>
                                        <p:tgtEl>
                                          <p:spTgt spid="295"/>
                                        </p:tgtEl>
                                      </p:cBhvr>
                                    </p:animEffect>
                                  </p:childTnLst>
                                </p:cTn>
                              </p:par>
                              <p:par>
                                <p:cTn id="66" presetID="10" presetClass="entr" presetSubtype="0" fill="hold" nodeType="withEffect">
                                  <p:stCondLst>
                                    <p:cond delay="0"/>
                                  </p:stCondLst>
                                  <p:childTnLst>
                                    <p:set>
                                      <p:cBhvr>
                                        <p:cTn id="67" dur="1" fill="hold">
                                          <p:stCondLst>
                                            <p:cond delay="0"/>
                                          </p:stCondLst>
                                        </p:cTn>
                                        <p:tgtEl>
                                          <p:spTgt spid="27"/>
                                        </p:tgtEl>
                                        <p:attrNameLst>
                                          <p:attrName>style.visibility</p:attrName>
                                        </p:attrNameLst>
                                      </p:cBhvr>
                                      <p:to>
                                        <p:strVal val="visible"/>
                                      </p:to>
                                    </p:set>
                                    <p:animEffect transition="in" filter="fade">
                                      <p:cBhvr>
                                        <p:cTn id="68" dur="500"/>
                                        <p:tgtEl>
                                          <p:spTgt spid="27"/>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xit" presetSubtype="0" fill="hold" grpId="0" nodeType="clickEffect">
                                  <p:stCondLst>
                                    <p:cond delay="0"/>
                                  </p:stCondLst>
                                  <p:childTnLst>
                                    <p:animEffect transition="out" filter="fade">
                                      <p:cBhvr>
                                        <p:cTn id="72" dur="500"/>
                                        <p:tgtEl>
                                          <p:spTgt spid="175"/>
                                        </p:tgtEl>
                                      </p:cBhvr>
                                    </p:animEffect>
                                    <p:set>
                                      <p:cBhvr>
                                        <p:cTn id="73" dur="1" fill="hold">
                                          <p:stCondLst>
                                            <p:cond delay="499"/>
                                          </p:stCondLst>
                                        </p:cTn>
                                        <p:tgtEl>
                                          <p:spTgt spid="175"/>
                                        </p:tgtEl>
                                        <p:attrNameLst>
                                          <p:attrName>style.visibility</p:attrName>
                                        </p:attrNameLst>
                                      </p:cBhvr>
                                      <p:to>
                                        <p:strVal val="hidden"/>
                                      </p:to>
                                    </p:set>
                                  </p:childTnLst>
                                </p:cTn>
                              </p:par>
                              <p:par>
                                <p:cTn id="74" presetID="10" presetClass="entr" presetSubtype="0" fill="hold" nodeType="withEffect">
                                  <p:stCondLst>
                                    <p:cond delay="0"/>
                                  </p:stCondLst>
                                  <p:childTnLst>
                                    <p:set>
                                      <p:cBhvr>
                                        <p:cTn id="75" dur="1" fill="hold">
                                          <p:stCondLst>
                                            <p:cond delay="0"/>
                                          </p:stCondLst>
                                        </p:cTn>
                                        <p:tgtEl>
                                          <p:spTgt spid="31"/>
                                        </p:tgtEl>
                                        <p:attrNameLst>
                                          <p:attrName>style.visibility</p:attrName>
                                        </p:attrNameLst>
                                      </p:cBhvr>
                                      <p:to>
                                        <p:strVal val="visible"/>
                                      </p:to>
                                    </p:set>
                                    <p:animEffect transition="in" filter="fade">
                                      <p:cBhvr>
                                        <p:cTn id="76" dur="500"/>
                                        <p:tgtEl>
                                          <p:spTgt spid="31"/>
                                        </p:tgtEl>
                                      </p:cBhvr>
                                    </p:animEffect>
                                  </p:childTnLst>
                                </p:cTn>
                              </p:par>
                              <p:par>
                                <p:cTn id="77" presetID="10" presetClass="entr" presetSubtype="0" fill="hold" nodeType="withEffect">
                                  <p:stCondLst>
                                    <p:cond delay="0"/>
                                  </p:stCondLst>
                                  <p:childTnLst>
                                    <p:set>
                                      <p:cBhvr>
                                        <p:cTn id="78" dur="1" fill="hold">
                                          <p:stCondLst>
                                            <p:cond delay="0"/>
                                          </p:stCondLst>
                                        </p:cTn>
                                        <p:tgtEl>
                                          <p:spTgt spid="5"/>
                                        </p:tgtEl>
                                        <p:attrNameLst>
                                          <p:attrName>style.visibility</p:attrName>
                                        </p:attrNameLst>
                                      </p:cBhvr>
                                      <p:to>
                                        <p:strVal val="visible"/>
                                      </p:to>
                                    </p:set>
                                    <p:animEffect transition="in" filter="fade">
                                      <p:cBhvr>
                                        <p:cTn id="79" dur="500"/>
                                        <p:tgtEl>
                                          <p:spTgt spid="5"/>
                                        </p:tgtEl>
                                      </p:cBhvr>
                                    </p:animEffect>
                                  </p:childTnLst>
                                </p:cTn>
                              </p:par>
                            </p:childTnLst>
                          </p:cTn>
                        </p:par>
                      </p:childTnLst>
                    </p:cTn>
                  </p:par>
                  <p:par>
                    <p:cTn id="80" fill="hold">
                      <p:stCondLst>
                        <p:cond delay="indefinite"/>
                      </p:stCondLst>
                      <p:childTnLst>
                        <p:par>
                          <p:cTn id="81" fill="hold">
                            <p:stCondLst>
                              <p:cond delay="0"/>
                            </p:stCondLst>
                            <p:childTnLst>
                              <p:par>
                                <p:cTn id="82" presetID="10" presetClass="exit" presetSubtype="0" fill="hold" grpId="0" nodeType="clickEffect">
                                  <p:stCondLst>
                                    <p:cond delay="0"/>
                                  </p:stCondLst>
                                  <p:childTnLst>
                                    <p:animEffect transition="out" filter="fade">
                                      <p:cBhvr>
                                        <p:cTn id="83" dur="500"/>
                                        <p:tgtEl>
                                          <p:spTgt spid="173"/>
                                        </p:tgtEl>
                                      </p:cBhvr>
                                    </p:animEffect>
                                    <p:set>
                                      <p:cBhvr>
                                        <p:cTn id="84" dur="1" fill="hold">
                                          <p:stCondLst>
                                            <p:cond delay="499"/>
                                          </p:stCondLst>
                                        </p:cTn>
                                        <p:tgtEl>
                                          <p:spTgt spid="173"/>
                                        </p:tgtEl>
                                        <p:attrNameLst>
                                          <p:attrName>style.visibility</p:attrName>
                                        </p:attrNameLst>
                                      </p:cBhvr>
                                      <p:to>
                                        <p:strVal val="hidden"/>
                                      </p:to>
                                    </p:set>
                                  </p:childTnLst>
                                </p:cTn>
                              </p:par>
                              <p:par>
                                <p:cTn id="85" presetID="10" presetClass="entr" presetSubtype="0" fill="hold" nodeType="withEffect">
                                  <p:stCondLst>
                                    <p:cond delay="0"/>
                                  </p:stCondLst>
                                  <p:childTnLst>
                                    <p:set>
                                      <p:cBhvr>
                                        <p:cTn id="86" dur="1" fill="hold">
                                          <p:stCondLst>
                                            <p:cond delay="0"/>
                                          </p:stCondLst>
                                        </p:cTn>
                                        <p:tgtEl>
                                          <p:spTgt spid="18"/>
                                        </p:tgtEl>
                                        <p:attrNameLst>
                                          <p:attrName>style.visibility</p:attrName>
                                        </p:attrNameLst>
                                      </p:cBhvr>
                                      <p:to>
                                        <p:strVal val="visible"/>
                                      </p:to>
                                    </p:set>
                                    <p:animEffect transition="in" filter="fade">
                                      <p:cBhvr>
                                        <p:cTn id="87" dur="500"/>
                                        <p:tgtEl>
                                          <p:spTgt spid="18"/>
                                        </p:tgtEl>
                                      </p:cBhvr>
                                    </p:animEffect>
                                  </p:childTnLst>
                                </p:cTn>
                              </p:par>
                              <p:par>
                                <p:cTn id="88" presetID="10" presetClass="entr" presetSubtype="0" fill="hold" nodeType="withEffect">
                                  <p:stCondLst>
                                    <p:cond delay="0"/>
                                  </p:stCondLst>
                                  <p:childTnLst>
                                    <p:set>
                                      <p:cBhvr>
                                        <p:cTn id="89" dur="1" fill="hold">
                                          <p:stCondLst>
                                            <p:cond delay="0"/>
                                          </p:stCondLst>
                                        </p:cTn>
                                        <p:tgtEl>
                                          <p:spTgt spid="282"/>
                                        </p:tgtEl>
                                        <p:attrNameLst>
                                          <p:attrName>style.visibility</p:attrName>
                                        </p:attrNameLst>
                                      </p:cBhvr>
                                      <p:to>
                                        <p:strVal val="visible"/>
                                      </p:to>
                                    </p:set>
                                    <p:animEffect transition="in" filter="fade">
                                      <p:cBhvr>
                                        <p:cTn id="90" dur="500"/>
                                        <p:tgtEl>
                                          <p:spTgt spid="282"/>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xit" presetSubtype="0" fill="hold" grpId="0" nodeType="clickEffect">
                                  <p:stCondLst>
                                    <p:cond delay="0"/>
                                  </p:stCondLst>
                                  <p:childTnLst>
                                    <p:animEffect transition="out" filter="fade">
                                      <p:cBhvr>
                                        <p:cTn id="94" dur="500"/>
                                        <p:tgtEl>
                                          <p:spTgt spid="177"/>
                                        </p:tgtEl>
                                      </p:cBhvr>
                                    </p:animEffect>
                                    <p:set>
                                      <p:cBhvr>
                                        <p:cTn id="95" dur="1" fill="hold">
                                          <p:stCondLst>
                                            <p:cond delay="499"/>
                                          </p:stCondLst>
                                        </p:cTn>
                                        <p:tgtEl>
                                          <p:spTgt spid="177"/>
                                        </p:tgtEl>
                                        <p:attrNameLst>
                                          <p:attrName>style.visibility</p:attrName>
                                        </p:attrNameLst>
                                      </p:cBhvr>
                                      <p:to>
                                        <p:strVal val="hidden"/>
                                      </p:to>
                                    </p:set>
                                  </p:childTnLst>
                                </p:cTn>
                              </p:par>
                              <p:par>
                                <p:cTn id="96" presetID="10" presetClass="entr" presetSubtype="0" fill="hold" nodeType="withEffect">
                                  <p:stCondLst>
                                    <p:cond delay="0"/>
                                  </p:stCondLst>
                                  <p:childTnLst>
                                    <p:set>
                                      <p:cBhvr>
                                        <p:cTn id="97" dur="1" fill="hold">
                                          <p:stCondLst>
                                            <p:cond delay="0"/>
                                          </p:stCondLst>
                                        </p:cTn>
                                        <p:tgtEl>
                                          <p:spTgt spid="12"/>
                                        </p:tgtEl>
                                        <p:attrNameLst>
                                          <p:attrName>style.visibility</p:attrName>
                                        </p:attrNameLst>
                                      </p:cBhvr>
                                      <p:to>
                                        <p:strVal val="visible"/>
                                      </p:to>
                                    </p:set>
                                    <p:animEffect transition="in" filter="fade">
                                      <p:cBhvr>
                                        <p:cTn id="98" dur="500"/>
                                        <p:tgtEl>
                                          <p:spTgt spid="12"/>
                                        </p:tgtEl>
                                      </p:cBhvr>
                                    </p:animEffect>
                                  </p:childTnLst>
                                </p:cTn>
                              </p:par>
                              <p:par>
                                <p:cTn id="99" presetID="10" presetClass="entr" presetSubtype="0" fill="hold" nodeType="withEffect">
                                  <p:stCondLst>
                                    <p:cond delay="0"/>
                                  </p:stCondLst>
                                  <p:childTnLst>
                                    <p:set>
                                      <p:cBhvr>
                                        <p:cTn id="100" dur="1" fill="hold">
                                          <p:stCondLst>
                                            <p:cond delay="0"/>
                                          </p:stCondLst>
                                        </p:cTn>
                                        <p:tgtEl>
                                          <p:spTgt spid="35"/>
                                        </p:tgtEl>
                                        <p:attrNameLst>
                                          <p:attrName>style.visibility</p:attrName>
                                        </p:attrNameLst>
                                      </p:cBhvr>
                                      <p:to>
                                        <p:strVal val="visible"/>
                                      </p:to>
                                    </p:set>
                                    <p:animEffect transition="in" filter="fade">
                                      <p:cBhvr>
                                        <p:cTn id="101" dur="500"/>
                                        <p:tgtEl>
                                          <p:spTgt spid="35"/>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xit" presetSubtype="0" fill="hold" grpId="0" nodeType="clickEffect">
                                  <p:stCondLst>
                                    <p:cond delay="0"/>
                                  </p:stCondLst>
                                  <p:childTnLst>
                                    <p:animEffect transition="out" filter="fade">
                                      <p:cBhvr>
                                        <p:cTn id="105" dur="500"/>
                                        <p:tgtEl>
                                          <p:spTgt spid="176"/>
                                        </p:tgtEl>
                                      </p:cBhvr>
                                    </p:animEffect>
                                    <p:set>
                                      <p:cBhvr>
                                        <p:cTn id="106" dur="1" fill="hold">
                                          <p:stCondLst>
                                            <p:cond delay="499"/>
                                          </p:stCondLst>
                                        </p:cTn>
                                        <p:tgtEl>
                                          <p:spTgt spid="176"/>
                                        </p:tgtEl>
                                        <p:attrNameLst>
                                          <p:attrName>style.visibility</p:attrName>
                                        </p:attrNameLst>
                                      </p:cBhvr>
                                      <p:to>
                                        <p:strVal val="hidden"/>
                                      </p:to>
                                    </p:set>
                                  </p:childTnLst>
                                </p:cTn>
                              </p:par>
                              <p:par>
                                <p:cTn id="107" presetID="10" presetClass="entr" presetSubtype="0" fill="hold" nodeType="withEffect">
                                  <p:stCondLst>
                                    <p:cond delay="0"/>
                                  </p:stCondLst>
                                  <p:childTnLst>
                                    <p:set>
                                      <p:cBhvr>
                                        <p:cTn id="108" dur="1" fill="hold">
                                          <p:stCondLst>
                                            <p:cond delay="0"/>
                                          </p:stCondLst>
                                        </p:cTn>
                                        <p:tgtEl>
                                          <p:spTgt spid="21"/>
                                        </p:tgtEl>
                                        <p:attrNameLst>
                                          <p:attrName>style.visibility</p:attrName>
                                        </p:attrNameLst>
                                      </p:cBhvr>
                                      <p:to>
                                        <p:strVal val="visible"/>
                                      </p:to>
                                    </p:set>
                                    <p:animEffect transition="in" filter="fade">
                                      <p:cBhvr>
                                        <p:cTn id="109" dur="500"/>
                                        <p:tgtEl>
                                          <p:spTgt spid="21"/>
                                        </p:tgtEl>
                                      </p:cBhvr>
                                    </p:animEffect>
                                  </p:childTnLst>
                                </p:cTn>
                              </p:par>
                              <p:par>
                                <p:cTn id="110" presetID="10" presetClass="entr" presetSubtype="0" fill="hold" nodeType="withEffect">
                                  <p:stCondLst>
                                    <p:cond delay="0"/>
                                  </p:stCondLst>
                                  <p:childTnLst>
                                    <p:set>
                                      <p:cBhvr>
                                        <p:cTn id="111" dur="1" fill="hold">
                                          <p:stCondLst>
                                            <p:cond delay="0"/>
                                          </p:stCondLst>
                                        </p:cTn>
                                        <p:tgtEl>
                                          <p:spTgt spid="44"/>
                                        </p:tgtEl>
                                        <p:attrNameLst>
                                          <p:attrName>style.visibility</p:attrName>
                                        </p:attrNameLst>
                                      </p:cBhvr>
                                      <p:to>
                                        <p:strVal val="visible"/>
                                      </p:to>
                                    </p:set>
                                    <p:animEffect transition="in" filter="fade">
                                      <p:cBhvr>
                                        <p:cTn id="11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9" grpId="0" animBg="1"/>
      <p:bldP spid="170" grpId="0" animBg="1"/>
      <p:bldP spid="171" grpId="0" animBg="1"/>
      <p:bldP spid="172" grpId="0" animBg="1"/>
      <p:bldP spid="173" grpId="0" animBg="1"/>
      <p:bldP spid="174" grpId="0" animBg="1"/>
      <p:bldP spid="175" grpId="0" animBg="1"/>
      <p:bldP spid="176" grpId="0" animBg="1"/>
      <p:bldP spid="177" grpId="0" animBg="1"/>
      <p:bldP spid="17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5" name="Gruppieren 294"/>
          <p:cNvGrpSpPr/>
          <p:nvPr/>
        </p:nvGrpSpPr>
        <p:grpSpPr>
          <a:xfrm flipH="1">
            <a:off x="4613178" y="2468462"/>
            <a:ext cx="622503" cy="232457"/>
            <a:chOff x="5911012" y="3297753"/>
            <a:chExt cx="674378" cy="309942"/>
          </a:xfrm>
        </p:grpSpPr>
        <p:sp>
          <p:nvSpPr>
            <p:cNvPr id="291" name="Rechteck 290"/>
            <p:cNvSpPr/>
            <p:nvPr/>
          </p:nvSpPr>
          <p:spPr>
            <a:xfrm rot="5400000">
              <a:off x="6274586" y="3296892"/>
              <a:ext cx="309941" cy="311666"/>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90" name="Rechteck 289"/>
            <p:cNvSpPr/>
            <p:nvPr/>
          </p:nvSpPr>
          <p:spPr>
            <a:xfrm rot="5400000">
              <a:off x="5911874" y="3296891"/>
              <a:ext cx="309941" cy="311666"/>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2" name="Gruppieren 21"/>
          <p:cNvGrpSpPr/>
          <p:nvPr/>
        </p:nvGrpSpPr>
        <p:grpSpPr>
          <a:xfrm>
            <a:off x="6622235" y="1942395"/>
            <a:ext cx="614522" cy="232456"/>
            <a:chOff x="7174088" y="2589859"/>
            <a:chExt cx="665732" cy="309941"/>
          </a:xfrm>
        </p:grpSpPr>
        <p:sp>
          <p:nvSpPr>
            <p:cNvPr id="283" name="Rechteck 282"/>
            <p:cNvSpPr/>
            <p:nvPr/>
          </p:nvSpPr>
          <p:spPr>
            <a:xfrm rot="5400000" flipH="1">
              <a:off x="7233205" y="2530742"/>
              <a:ext cx="309941" cy="42817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85" name="Rechteck 284"/>
            <p:cNvSpPr/>
            <p:nvPr/>
          </p:nvSpPr>
          <p:spPr>
            <a:xfrm rot="5400000" flipH="1">
              <a:off x="7589089" y="2648501"/>
              <a:ext cx="306060" cy="19540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75" name="Gruppieren 274"/>
          <p:cNvGrpSpPr/>
          <p:nvPr/>
        </p:nvGrpSpPr>
        <p:grpSpPr>
          <a:xfrm rot="10800000" flipH="1">
            <a:off x="5949107" y="1942395"/>
            <a:ext cx="634149" cy="232456"/>
            <a:chOff x="6430035" y="2579086"/>
            <a:chExt cx="686995" cy="309941"/>
          </a:xfrm>
        </p:grpSpPr>
        <p:sp>
          <p:nvSpPr>
            <p:cNvPr id="276" name="Rechteck 275"/>
            <p:cNvSpPr/>
            <p:nvPr/>
          </p:nvSpPr>
          <p:spPr>
            <a:xfrm rot="5400000">
              <a:off x="6499784" y="2509337"/>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78" name="Rechteck 277"/>
            <p:cNvSpPr/>
            <p:nvPr/>
          </p:nvSpPr>
          <p:spPr>
            <a:xfrm rot="5400000">
              <a:off x="6866299" y="2634983"/>
              <a:ext cx="306060" cy="195403"/>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68" name="Gruppieren 267"/>
          <p:cNvGrpSpPr/>
          <p:nvPr/>
        </p:nvGrpSpPr>
        <p:grpSpPr>
          <a:xfrm rot="10800000">
            <a:off x="1581145" y="2208402"/>
            <a:ext cx="634149" cy="232456"/>
            <a:chOff x="6430035" y="2579086"/>
            <a:chExt cx="686995" cy="309941"/>
          </a:xfrm>
        </p:grpSpPr>
        <p:sp>
          <p:nvSpPr>
            <p:cNvPr id="269" name="Rechteck 268"/>
            <p:cNvSpPr/>
            <p:nvPr/>
          </p:nvSpPr>
          <p:spPr>
            <a:xfrm rot="5400000">
              <a:off x="6499784" y="2509337"/>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71" name="Rechteck 270"/>
            <p:cNvSpPr/>
            <p:nvPr/>
          </p:nvSpPr>
          <p:spPr>
            <a:xfrm rot="5400000">
              <a:off x="6866299" y="2634983"/>
              <a:ext cx="306060" cy="19540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67" name="Gruppieren 266"/>
          <p:cNvGrpSpPr/>
          <p:nvPr/>
        </p:nvGrpSpPr>
        <p:grpSpPr>
          <a:xfrm rot="10800000">
            <a:off x="1914301" y="1942395"/>
            <a:ext cx="634149" cy="232456"/>
            <a:chOff x="6430035" y="2579086"/>
            <a:chExt cx="686995" cy="309941"/>
          </a:xfrm>
        </p:grpSpPr>
        <p:sp>
          <p:nvSpPr>
            <p:cNvPr id="261" name="Rechteck 260"/>
            <p:cNvSpPr/>
            <p:nvPr/>
          </p:nvSpPr>
          <p:spPr>
            <a:xfrm rot="5400000">
              <a:off x="6499784" y="2509337"/>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63" name="Rechteck 262"/>
            <p:cNvSpPr/>
            <p:nvPr/>
          </p:nvSpPr>
          <p:spPr>
            <a:xfrm rot="5400000">
              <a:off x="6866299" y="2634983"/>
              <a:ext cx="306060" cy="19540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12" name="Gruppieren 11"/>
          <p:cNvGrpSpPr/>
          <p:nvPr/>
        </p:nvGrpSpPr>
        <p:grpSpPr>
          <a:xfrm>
            <a:off x="2250454" y="3267396"/>
            <a:ext cx="634747" cy="232456"/>
            <a:chOff x="2437989" y="4356525"/>
            <a:chExt cx="687643" cy="309941"/>
          </a:xfrm>
        </p:grpSpPr>
        <p:sp>
          <p:nvSpPr>
            <p:cNvPr id="194" name="Rechteck 193"/>
            <p:cNvSpPr/>
            <p:nvPr/>
          </p:nvSpPr>
          <p:spPr>
            <a:xfrm rot="5400000">
              <a:off x="2745942" y="4286776"/>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96" name="Rechteck 195"/>
            <p:cNvSpPr/>
            <p:nvPr/>
          </p:nvSpPr>
          <p:spPr>
            <a:xfrm rot="16200000" flipH="1">
              <a:off x="2382377" y="4412138"/>
              <a:ext cx="306627" cy="195403"/>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sp>
        <p:nvSpPr>
          <p:cNvPr id="19" name="Rechteck 18"/>
          <p:cNvSpPr/>
          <p:nvPr/>
        </p:nvSpPr>
        <p:spPr>
          <a:xfrm rot="5400000">
            <a:off x="1779513" y="2542218"/>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6" name="Rechteck 35"/>
          <p:cNvSpPr/>
          <p:nvPr/>
        </p:nvSpPr>
        <p:spPr>
          <a:xfrm rot="5400000">
            <a:off x="2452003"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7" name="Rechteck 36"/>
          <p:cNvSpPr/>
          <p:nvPr/>
        </p:nvSpPr>
        <p:spPr>
          <a:xfrm rot="5400000">
            <a:off x="3124491"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8" name="Rechteck 37"/>
          <p:cNvSpPr/>
          <p:nvPr/>
        </p:nvSpPr>
        <p:spPr>
          <a:xfrm rot="5400000">
            <a:off x="3796981"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9" name="Rechteck 38"/>
          <p:cNvSpPr/>
          <p:nvPr/>
        </p:nvSpPr>
        <p:spPr>
          <a:xfrm rot="5400000">
            <a:off x="4637542" y="2710716"/>
            <a:ext cx="232456" cy="287901"/>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0" name="Rechteck 39"/>
          <p:cNvSpPr/>
          <p:nvPr/>
        </p:nvSpPr>
        <p:spPr>
          <a:xfrm rot="5400000">
            <a:off x="5141962"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1" name="Rechteck 40"/>
          <p:cNvSpPr/>
          <p:nvPr/>
        </p:nvSpPr>
        <p:spPr>
          <a:xfrm rot="5400000">
            <a:off x="5814453" y="2543069"/>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2" name="Rechteck 41"/>
          <p:cNvSpPr/>
          <p:nvPr/>
        </p:nvSpPr>
        <p:spPr>
          <a:xfrm rot="5400000">
            <a:off x="2115651" y="2807464"/>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3" name="Rechteck 42"/>
          <p:cNvSpPr/>
          <p:nvPr/>
        </p:nvSpPr>
        <p:spPr>
          <a:xfrm rot="5400000">
            <a:off x="2788141"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6" name="Rechteck 45"/>
          <p:cNvSpPr/>
          <p:nvPr/>
        </p:nvSpPr>
        <p:spPr>
          <a:xfrm rot="5400000">
            <a:off x="3460631"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7" name="Rechteck 46"/>
          <p:cNvSpPr/>
          <p:nvPr/>
        </p:nvSpPr>
        <p:spPr>
          <a:xfrm rot="5400000">
            <a:off x="4133122"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8" name="Rechteck 47"/>
          <p:cNvSpPr/>
          <p:nvPr/>
        </p:nvSpPr>
        <p:spPr>
          <a:xfrm rot="5400000">
            <a:off x="4805614"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3" name="Rechteck 52"/>
          <p:cNvSpPr/>
          <p:nvPr/>
        </p:nvSpPr>
        <p:spPr>
          <a:xfrm rot="5400000">
            <a:off x="1779513" y="307075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5" name="Rechteck 54"/>
          <p:cNvSpPr/>
          <p:nvPr/>
        </p:nvSpPr>
        <p:spPr>
          <a:xfrm rot="5400000">
            <a:off x="312449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6" name="Rechteck 65"/>
          <p:cNvSpPr/>
          <p:nvPr/>
        </p:nvSpPr>
        <p:spPr>
          <a:xfrm rot="5400000">
            <a:off x="379698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7" name="Rechteck 66"/>
          <p:cNvSpPr/>
          <p:nvPr/>
        </p:nvSpPr>
        <p:spPr>
          <a:xfrm rot="5400000">
            <a:off x="446947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8" name="Rechteck 67"/>
          <p:cNvSpPr/>
          <p:nvPr/>
        </p:nvSpPr>
        <p:spPr>
          <a:xfrm rot="5400000">
            <a:off x="5141962"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9" name="Rechteck 68"/>
          <p:cNvSpPr/>
          <p:nvPr/>
        </p:nvSpPr>
        <p:spPr>
          <a:xfrm rot="5400000">
            <a:off x="5814453" y="30716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0" name="Rechteck 69"/>
          <p:cNvSpPr/>
          <p:nvPr/>
        </p:nvSpPr>
        <p:spPr>
          <a:xfrm rot="5400000">
            <a:off x="2115651" y="33359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1" name="Rechteck 70"/>
          <p:cNvSpPr/>
          <p:nvPr/>
        </p:nvSpPr>
        <p:spPr>
          <a:xfrm rot="5400000">
            <a:off x="2788141"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2" name="Rechteck 71"/>
          <p:cNvSpPr/>
          <p:nvPr/>
        </p:nvSpPr>
        <p:spPr>
          <a:xfrm rot="5400000">
            <a:off x="3460631"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3" name="Rechteck 72"/>
          <p:cNvSpPr/>
          <p:nvPr/>
        </p:nvSpPr>
        <p:spPr>
          <a:xfrm rot="5400000">
            <a:off x="4133122"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4" name="Rechteck 73"/>
          <p:cNvSpPr/>
          <p:nvPr/>
        </p:nvSpPr>
        <p:spPr>
          <a:xfrm rot="5400000">
            <a:off x="4805614"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5" name="Rechteck 74"/>
          <p:cNvSpPr/>
          <p:nvPr/>
        </p:nvSpPr>
        <p:spPr>
          <a:xfrm rot="5400000">
            <a:off x="5478104"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9" name="Rechteck 78"/>
          <p:cNvSpPr/>
          <p:nvPr/>
        </p:nvSpPr>
        <p:spPr>
          <a:xfrm rot="5400000">
            <a:off x="2452003"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0" name="Rechteck 79"/>
          <p:cNvSpPr/>
          <p:nvPr/>
        </p:nvSpPr>
        <p:spPr>
          <a:xfrm rot="5400000">
            <a:off x="312449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1" name="Rechteck 80"/>
          <p:cNvSpPr/>
          <p:nvPr/>
        </p:nvSpPr>
        <p:spPr>
          <a:xfrm rot="5400000">
            <a:off x="379698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2" name="Rechteck 81"/>
          <p:cNvSpPr/>
          <p:nvPr/>
        </p:nvSpPr>
        <p:spPr>
          <a:xfrm rot="5400000">
            <a:off x="446947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3" name="Rechteck 82"/>
          <p:cNvSpPr/>
          <p:nvPr/>
        </p:nvSpPr>
        <p:spPr>
          <a:xfrm rot="5400000">
            <a:off x="5141962"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4" name="Rechteck 83"/>
          <p:cNvSpPr/>
          <p:nvPr/>
        </p:nvSpPr>
        <p:spPr>
          <a:xfrm rot="5400000">
            <a:off x="5814453" y="20127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5" name="Rechteck 84"/>
          <p:cNvSpPr/>
          <p:nvPr/>
        </p:nvSpPr>
        <p:spPr>
          <a:xfrm rot="5400000">
            <a:off x="2115651" y="22770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7" name="Rechteck 86"/>
          <p:cNvSpPr/>
          <p:nvPr/>
        </p:nvSpPr>
        <p:spPr>
          <a:xfrm rot="5400000">
            <a:off x="3460631"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8" name="Rechteck 87"/>
          <p:cNvSpPr/>
          <p:nvPr/>
        </p:nvSpPr>
        <p:spPr>
          <a:xfrm rot="5400000">
            <a:off x="4133122"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0" name="Rechteck 89"/>
          <p:cNvSpPr/>
          <p:nvPr/>
        </p:nvSpPr>
        <p:spPr>
          <a:xfrm rot="5400000">
            <a:off x="5478104"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5" name="Rechteck 94"/>
          <p:cNvSpPr/>
          <p:nvPr/>
        </p:nvSpPr>
        <p:spPr>
          <a:xfrm rot="5400000">
            <a:off x="1612399" y="2975428"/>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6" name="Rechteck 95"/>
          <p:cNvSpPr/>
          <p:nvPr/>
        </p:nvSpPr>
        <p:spPr>
          <a:xfrm rot="5400000">
            <a:off x="1612399" y="244593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7" name="Rechteck 96"/>
          <p:cNvSpPr/>
          <p:nvPr/>
        </p:nvSpPr>
        <p:spPr>
          <a:xfrm rot="5400000">
            <a:off x="1612399" y="3503960"/>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8" name="Rechteck 97"/>
          <p:cNvSpPr/>
          <p:nvPr/>
        </p:nvSpPr>
        <p:spPr>
          <a:xfrm rot="5400000">
            <a:off x="1779513" y="148238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9" name="Rechteck 98"/>
          <p:cNvSpPr/>
          <p:nvPr/>
        </p:nvSpPr>
        <p:spPr>
          <a:xfrm rot="5400000">
            <a:off x="2452003"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0" name="Rechteck 99"/>
          <p:cNvSpPr/>
          <p:nvPr/>
        </p:nvSpPr>
        <p:spPr>
          <a:xfrm rot="5400000">
            <a:off x="3124491"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1" name="Rechteck 100"/>
          <p:cNvSpPr/>
          <p:nvPr/>
        </p:nvSpPr>
        <p:spPr>
          <a:xfrm rot="5400000">
            <a:off x="3796981"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2" name="Rechteck 101"/>
          <p:cNvSpPr/>
          <p:nvPr/>
        </p:nvSpPr>
        <p:spPr>
          <a:xfrm rot="5400000">
            <a:off x="4469471"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3" name="Rechteck 102"/>
          <p:cNvSpPr/>
          <p:nvPr/>
        </p:nvSpPr>
        <p:spPr>
          <a:xfrm rot="5400000">
            <a:off x="5141962"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4" name="Rechteck 103"/>
          <p:cNvSpPr/>
          <p:nvPr/>
        </p:nvSpPr>
        <p:spPr>
          <a:xfrm rot="5400000">
            <a:off x="5814453" y="148323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6" name="Rechteck 105"/>
          <p:cNvSpPr/>
          <p:nvPr/>
        </p:nvSpPr>
        <p:spPr>
          <a:xfrm rot="5400000">
            <a:off x="2788141"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7" name="Rechteck 106"/>
          <p:cNvSpPr/>
          <p:nvPr/>
        </p:nvSpPr>
        <p:spPr>
          <a:xfrm rot="5400000">
            <a:off x="3460631"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8" name="Rechteck 107"/>
          <p:cNvSpPr/>
          <p:nvPr/>
        </p:nvSpPr>
        <p:spPr>
          <a:xfrm rot="5400000">
            <a:off x="4133122"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9" name="Rechteck 108"/>
          <p:cNvSpPr/>
          <p:nvPr/>
        </p:nvSpPr>
        <p:spPr>
          <a:xfrm rot="5400000">
            <a:off x="4805614"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0" name="Rechteck 109"/>
          <p:cNvSpPr/>
          <p:nvPr/>
        </p:nvSpPr>
        <p:spPr>
          <a:xfrm rot="5400000">
            <a:off x="5478104"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2" name="Rechteck 111"/>
          <p:cNvSpPr/>
          <p:nvPr/>
        </p:nvSpPr>
        <p:spPr>
          <a:xfrm rot="5400000">
            <a:off x="6985142" y="1650347"/>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3" name="Rechteck 112"/>
          <p:cNvSpPr/>
          <p:nvPr/>
        </p:nvSpPr>
        <p:spPr>
          <a:xfrm rot="5400000">
            <a:off x="1612399" y="191646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grpSp>
        <p:nvGrpSpPr>
          <p:cNvPr id="13" name="Gruppieren 12"/>
          <p:cNvGrpSpPr/>
          <p:nvPr/>
        </p:nvGrpSpPr>
        <p:grpSpPr>
          <a:xfrm>
            <a:off x="2592558" y="2473314"/>
            <a:ext cx="623832" cy="232456"/>
            <a:chOff x="2808604" y="3297752"/>
            <a:chExt cx="675818" cy="309941"/>
          </a:xfrm>
        </p:grpSpPr>
        <p:sp>
          <p:nvSpPr>
            <p:cNvPr id="114" name="Rechteck 113"/>
            <p:cNvSpPr/>
            <p:nvPr/>
          </p:nvSpPr>
          <p:spPr>
            <a:xfrm rot="5400000">
              <a:off x="2809466" y="3296890"/>
              <a:ext cx="309941" cy="311666"/>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86" name="Rechteck 85"/>
            <p:cNvSpPr/>
            <p:nvPr/>
          </p:nvSpPr>
          <p:spPr>
            <a:xfrm rot="5400000">
              <a:off x="3173618" y="3296890"/>
              <a:ext cx="309941" cy="311666"/>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18" name="Gruppieren 17"/>
          <p:cNvGrpSpPr/>
          <p:nvPr/>
        </p:nvGrpSpPr>
        <p:grpSpPr>
          <a:xfrm>
            <a:off x="5282311" y="3003684"/>
            <a:ext cx="634149" cy="232456"/>
            <a:chOff x="5722501" y="4004910"/>
            <a:chExt cx="686995" cy="309941"/>
          </a:xfrm>
        </p:grpSpPr>
        <p:sp>
          <p:nvSpPr>
            <p:cNvPr id="49" name="Rechteck 48"/>
            <p:cNvSpPr/>
            <p:nvPr/>
          </p:nvSpPr>
          <p:spPr>
            <a:xfrm rot="5400000">
              <a:off x="5792250" y="3935161"/>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56" name="Rechteck 155"/>
            <p:cNvSpPr/>
            <p:nvPr/>
          </p:nvSpPr>
          <p:spPr>
            <a:xfrm rot="5400000">
              <a:off x="6158765" y="4060807"/>
              <a:ext cx="306060" cy="195403"/>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sp>
        <p:nvSpPr>
          <p:cNvPr id="228" name="Rechteck 227"/>
          <p:cNvSpPr/>
          <p:nvPr/>
        </p:nvSpPr>
        <p:spPr>
          <a:xfrm rot="5400000">
            <a:off x="1774810" y="359864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9" name="Rechteck 228"/>
          <p:cNvSpPr/>
          <p:nvPr/>
        </p:nvSpPr>
        <p:spPr>
          <a:xfrm rot="5400000">
            <a:off x="244730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0" name="Rechteck 229"/>
          <p:cNvSpPr/>
          <p:nvPr/>
        </p:nvSpPr>
        <p:spPr>
          <a:xfrm rot="5400000">
            <a:off x="311979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1" name="Rechteck 230"/>
          <p:cNvSpPr/>
          <p:nvPr/>
        </p:nvSpPr>
        <p:spPr>
          <a:xfrm rot="5400000">
            <a:off x="379228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2" name="Rechteck 231"/>
          <p:cNvSpPr/>
          <p:nvPr/>
        </p:nvSpPr>
        <p:spPr>
          <a:xfrm rot="5400000">
            <a:off x="4464770"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3" name="Rechteck 232"/>
          <p:cNvSpPr/>
          <p:nvPr/>
        </p:nvSpPr>
        <p:spPr>
          <a:xfrm rot="5400000">
            <a:off x="5137260"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4" name="Rechteck 233"/>
          <p:cNvSpPr/>
          <p:nvPr/>
        </p:nvSpPr>
        <p:spPr>
          <a:xfrm rot="5400000">
            <a:off x="5809750" y="359949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5" name="Rechteck 234"/>
          <p:cNvSpPr/>
          <p:nvPr/>
        </p:nvSpPr>
        <p:spPr>
          <a:xfrm rot="5400000">
            <a:off x="2110952" y="386389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6" name="Rechteck 235"/>
          <p:cNvSpPr/>
          <p:nvPr/>
        </p:nvSpPr>
        <p:spPr>
          <a:xfrm rot="5400000">
            <a:off x="278344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7" name="Rechteck 236"/>
          <p:cNvSpPr/>
          <p:nvPr/>
        </p:nvSpPr>
        <p:spPr>
          <a:xfrm rot="5400000">
            <a:off x="345593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8" name="Rechteck 237"/>
          <p:cNvSpPr/>
          <p:nvPr/>
        </p:nvSpPr>
        <p:spPr>
          <a:xfrm rot="5400000">
            <a:off x="412842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9" name="Rechteck 238"/>
          <p:cNvSpPr/>
          <p:nvPr/>
        </p:nvSpPr>
        <p:spPr>
          <a:xfrm rot="5400000">
            <a:off x="480091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0" name="Rechteck 239"/>
          <p:cNvSpPr/>
          <p:nvPr/>
        </p:nvSpPr>
        <p:spPr>
          <a:xfrm rot="5400000">
            <a:off x="5473402"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3" name="Rechteck 242"/>
          <p:cNvSpPr/>
          <p:nvPr/>
        </p:nvSpPr>
        <p:spPr>
          <a:xfrm rot="5400000">
            <a:off x="1607698" y="402741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0" name="Rechteck 249"/>
          <p:cNvSpPr/>
          <p:nvPr/>
        </p:nvSpPr>
        <p:spPr>
          <a:xfrm rot="5400000">
            <a:off x="6484929" y="148323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3" name="Rechteck 252"/>
          <p:cNvSpPr/>
          <p:nvPr/>
        </p:nvSpPr>
        <p:spPr>
          <a:xfrm rot="5400000">
            <a:off x="6143878"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2" name="Rechteck 51"/>
          <p:cNvSpPr/>
          <p:nvPr/>
        </p:nvSpPr>
        <p:spPr>
          <a:xfrm rot="5400000">
            <a:off x="6818029" y="2807444"/>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7" name="Rechteck 76"/>
          <p:cNvSpPr/>
          <p:nvPr/>
        </p:nvSpPr>
        <p:spPr>
          <a:xfrm rot="5400000">
            <a:off x="6818029" y="33359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1" name="Rechteck 90"/>
          <p:cNvSpPr/>
          <p:nvPr/>
        </p:nvSpPr>
        <p:spPr>
          <a:xfrm rot="5400000">
            <a:off x="6818029" y="227707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2" name="Rechteck 91"/>
          <p:cNvSpPr/>
          <p:nvPr/>
        </p:nvSpPr>
        <p:spPr>
          <a:xfrm rot="5400000">
            <a:off x="6985142" y="2709311"/>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3" name="Rechteck 92"/>
          <p:cNvSpPr/>
          <p:nvPr/>
        </p:nvSpPr>
        <p:spPr>
          <a:xfrm rot="5400000">
            <a:off x="6985142" y="2179814"/>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4" name="Rechteck 93"/>
          <p:cNvSpPr/>
          <p:nvPr/>
        </p:nvSpPr>
        <p:spPr>
          <a:xfrm rot="5400000">
            <a:off x="6985142" y="3237845"/>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1" name="Rechteck 240"/>
          <p:cNvSpPr/>
          <p:nvPr/>
        </p:nvSpPr>
        <p:spPr>
          <a:xfrm rot="5400000">
            <a:off x="6813330" y="386387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2" name="Rechteck 241"/>
          <p:cNvSpPr/>
          <p:nvPr/>
        </p:nvSpPr>
        <p:spPr>
          <a:xfrm rot="5400000">
            <a:off x="6980443" y="3766610"/>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4" name="Rechteck 243"/>
          <p:cNvSpPr/>
          <p:nvPr/>
        </p:nvSpPr>
        <p:spPr>
          <a:xfrm rot="5400000">
            <a:off x="6484929" y="2543069"/>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5" name="Rechteck 244"/>
          <p:cNvSpPr/>
          <p:nvPr/>
        </p:nvSpPr>
        <p:spPr>
          <a:xfrm rot="5400000">
            <a:off x="6156129" y="2806882"/>
            <a:ext cx="232456" cy="62605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6" name="Rechteck 245"/>
          <p:cNvSpPr/>
          <p:nvPr/>
        </p:nvSpPr>
        <p:spPr>
          <a:xfrm rot="5400000">
            <a:off x="6484929" y="30716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7" name="Rechteck 246"/>
          <p:cNvSpPr/>
          <p:nvPr/>
        </p:nvSpPr>
        <p:spPr>
          <a:xfrm rot="5400000">
            <a:off x="6148580"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8" name="Rechteck 247"/>
          <p:cNvSpPr/>
          <p:nvPr/>
        </p:nvSpPr>
        <p:spPr>
          <a:xfrm rot="5400000">
            <a:off x="6484929" y="20127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9" name="Rechteck 248"/>
          <p:cNvSpPr/>
          <p:nvPr/>
        </p:nvSpPr>
        <p:spPr>
          <a:xfrm rot="5400000">
            <a:off x="6148580"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grpSp>
        <p:nvGrpSpPr>
          <p:cNvPr id="21" name="Gruppieren 20"/>
          <p:cNvGrpSpPr/>
          <p:nvPr/>
        </p:nvGrpSpPr>
        <p:grpSpPr>
          <a:xfrm>
            <a:off x="6280379" y="3796005"/>
            <a:ext cx="629936" cy="232456"/>
            <a:chOff x="6803741" y="5054898"/>
            <a:chExt cx="682431" cy="309941"/>
          </a:xfrm>
        </p:grpSpPr>
        <p:sp>
          <p:nvSpPr>
            <p:cNvPr id="300" name="Rechteck 299"/>
            <p:cNvSpPr/>
            <p:nvPr/>
          </p:nvSpPr>
          <p:spPr>
            <a:xfrm rot="5400000" flipH="1">
              <a:off x="7106482" y="4985149"/>
              <a:ext cx="309941" cy="449439"/>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02" name="Rechteck 301"/>
            <p:cNvSpPr/>
            <p:nvPr/>
          </p:nvSpPr>
          <p:spPr>
            <a:xfrm rot="5400000">
              <a:off x="6748413" y="5112898"/>
              <a:ext cx="306060" cy="19540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25" name="Gruppieren 24"/>
          <p:cNvGrpSpPr/>
          <p:nvPr/>
        </p:nvGrpSpPr>
        <p:grpSpPr>
          <a:xfrm>
            <a:off x="1781146" y="2202754"/>
            <a:ext cx="1262010" cy="248755"/>
            <a:chOff x="1929575" y="2937002"/>
            <a:chExt cx="1367178" cy="331673"/>
          </a:xfrm>
        </p:grpSpPr>
        <p:sp>
          <p:nvSpPr>
            <p:cNvPr id="190" name="Rechteck 189"/>
            <p:cNvSpPr/>
            <p:nvPr/>
          </p:nvSpPr>
          <p:spPr>
            <a:xfrm>
              <a:off x="1929575" y="2937002"/>
              <a:ext cx="1367178" cy="331673"/>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25" name="Inhaltsplatzhalter 12"/>
            <p:cNvSpPr txBox="1">
              <a:spLocks/>
            </p:cNvSpPr>
            <p:nvPr/>
          </p:nvSpPr>
          <p:spPr>
            <a:xfrm>
              <a:off x="1986855" y="2996053"/>
              <a:ext cx="1293076"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6"/>
                  </a:solidFill>
                </a:rPr>
                <a:t>Biomed</a:t>
              </a:r>
              <a:r>
                <a:rPr lang="de-DE" sz="1200" dirty="0">
                  <a:solidFill>
                    <a:schemeClr val="accent6"/>
                  </a:solidFill>
                </a:rPr>
                <a:t> Central</a:t>
              </a:r>
            </a:p>
          </p:txBody>
        </p:sp>
      </p:grpSp>
      <p:grpSp>
        <p:nvGrpSpPr>
          <p:cNvPr id="27" name="Gruppieren 26"/>
          <p:cNvGrpSpPr/>
          <p:nvPr/>
        </p:nvGrpSpPr>
        <p:grpSpPr>
          <a:xfrm>
            <a:off x="5266253" y="2455195"/>
            <a:ext cx="546007" cy="271464"/>
            <a:chOff x="5705105" y="3273593"/>
            <a:chExt cx="591508" cy="361952"/>
          </a:xfrm>
        </p:grpSpPr>
        <p:sp>
          <p:nvSpPr>
            <p:cNvPr id="192" name="Rechteck 191"/>
            <p:cNvSpPr/>
            <p:nvPr/>
          </p:nvSpPr>
          <p:spPr>
            <a:xfrm>
              <a:off x="5705105" y="3273593"/>
              <a:ext cx="576337"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07" name="Inhaltsplatzhalter 12"/>
            <p:cNvSpPr txBox="1">
              <a:spLocks/>
            </p:cNvSpPr>
            <p:nvPr/>
          </p:nvSpPr>
          <p:spPr>
            <a:xfrm>
              <a:off x="5761989" y="3347298"/>
              <a:ext cx="534624"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6"/>
                  </a:solidFill>
                </a:rPr>
                <a:t>PLOS</a:t>
              </a:r>
            </a:p>
          </p:txBody>
        </p:sp>
      </p:grpSp>
      <p:grpSp>
        <p:nvGrpSpPr>
          <p:cNvPr id="29" name="Gruppieren 28"/>
          <p:cNvGrpSpPr/>
          <p:nvPr/>
        </p:nvGrpSpPr>
        <p:grpSpPr>
          <a:xfrm>
            <a:off x="5672180" y="1922113"/>
            <a:ext cx="704994" cy="271464"/>
            <a:chOff x="6144861" y="2562817"/>
            <a:chExt cx="763744" cy="361952"/>
          </a:xfrm>
        </p:grpSpPr>
        <p:sp>
          <p:nvSpPr>
            <p:cNvPr id="193" name="Rechteck 192"/>
            <p:cNvSpPr/>
            <p:nvPr/>
          </p:nvSpPr>
          <p:spPr>
            <a:xfrm>
              <a:off x="6144861" y="2562817"/>
              <a:ext cx="763744"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accent4"/>
                </a:solidFill>
              </a:endParaRPr>
            </a:p>
          </p:txBody>
        </p:sp>
        <p:sp>
          <p:nvSpPr>
            <p:cNvPr id="308" name="Inhaltsplatzhalter 12"/>
            <p:cNvSpPr txBox="1">
              <a:spLocks/>
            </p:cNvSpPr>
            <p:nvPr/>
          </p:nvSpPr>
          <p:spPr>
            <a:xfrm>
              <a:off x="6159036" y="2652456"/>
              <a:ext cx="710274"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4"/>
                  </a:solidFill>
                </a:rPr>
                <a:t>SCOAP</a:t>
              </a:r>
              <a:r>
                <a:rPr lang="de-DE" sz="1200" baseline="30000" dirty="0">
                  <a:solidFill>
                    <a:schemeClr val="accent4"/>
                  </a:solidFill>
                </a:rPr>
                <a:t>3</a:t>
              </a:r>
            </a:p>
          </p:txBody>
        </p:sp>
      </p:grpSp>
      <p:grpSp>
        <p:nvGrpSpPr>
          <p:cNvPr id="282" name="Gruppieren 281"/>
          <p:cNvGrpSpPr/>
          <p:nvPr/>
        </p:nvGrpSpPr>
        <p:grpSpPr>
          <a:xfrm>
            <a:off x="5930678" y="2981583"/>
            <a:ext cx="1371436" cy="271464"/>
            <a:chOff x="6424901" y="3975444"/>
            <a:chExt cx="1485722" cy="361952"/>
          </a:xfrm>
        </p:grpSpPr>
        <p:sp>
          <p:nvSpPr>
            <p:cNvPr id="211" name="Rechteck 210"/>
            <p:cNvSpPr/>
            <p:nvPr/>
          </p:nvSpPr>
          <p:spPr>
            <a:xfrm>
              <a:off x="6424901" y="3975444"/>
              <a:ext cx="1485722"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accent4"/>
                </a:solidFill>
              </a:endParaRPr>
            </a:p>
          </p:txBody>
        </p:sp>
        <p:sp>
          <p:nvSpPr>
            <p:cNvPr id="309" name="Inhaltsplatzhalter 12"/>
            <p:cNvSpPr txBox="1">
              <a:spLocks/>
            </p:cNvSpPr>
            <p:nvPr/>
          </p:nvSpPr>
          <p:spPr>
            <a:xfrm>
              <a:off x="6482740" y="4052651"/>
              <a:ext cx="1293076"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4"/>
                  </a:solidFill>
                </a:rPr>
                <a:t>PubMed</a:t>
              </a:r>
              <a:r>
                <a:rPr lang="de-DE" sz="1200" dirty="0">
                  <a:solidFill>
                    <a:schemeClr val="accent4"/>
                  </a:solidFill>
                </a:rPr>
                <a:t> Central</a:t>
              </a:r>
            </a:p>
          </p:txBody>
        </p:sp>
      </p:grpSp>
      <p:grpSp>
        <p:nvGrpSpPr>
          <p:cNvPr id="26" name="Gruppieren 25"/>
          <p:cNvGrpSpPr/>
          <p:nvPr/>
        </p:nvGrpSpPr>
        <p:grpSpPr>
          <a:xfrm>
            <a:off x="3240718" y="2455195"/>
            <a:ext cx="1117139" cy="271464"/>
            <a:chOff x="3510778" y="3273593"/>
            <a:chExt cx="1210234" cy="361952"/>
          </a:xfrm>
        </p:grpSpPr>
        <p:sp>
          <p:nvSpPr>
            <p:cNvPr id="191" name="Rechteck 190"/>
            <p:cNvSpPr/>
            <p:nvPr/>
          </p:nvSpPr>
          <p:spPr>
            <a:xfrm>
              <a:off x="3510778" y="3273593"/>
              <a:ext cx="1210233"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accent4"/>
                </a:solidFill>
              </a:endParaRPr>
            </a:p>
          </p:txBody>
        </p:sp>
        <p:sp>
          <p:nvSpPr>
            <p:cNvPr id="310" name="Inhaltsplatzhalter 12"/>
            <p:cNvSpPr txBox="1">
              <a:spLocks/>
            </p:cNvSpPr>
            <p:nvPr/>
          </p:nvSpPr>
          <p:spPr>
            <a:xfrm>
              <a:off x="3570524" y="3347985"/>
              <a:ext cx="1150488"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4"/>
                  </a:solidFill>
                </a:rPr>
                <a:t>OA </a:t>
              </a:r>
              <a:r>
                <a:rPr lang="de-DE" sz="1200" dirty="0" err="1">
                  <a:solidFill>
                    <a:schemeClr val="accent4"/>
                  </a:solidFill>
                </a:rPr>
                <a:t>mandates</a:t>
              </a:r>
              <a:endParaRPr lang="de-DE" sz="1200" dirty="0">
                <a:solidFill>
                  <a:schemeClr val="accent4"/>
                </a:solidFill>
              </a:endParaRPr>
            </a:p>
          </p:txBody>
        </p:sp>
      </p:grpSp>
      <p:grpSp>
        <p:nvGrpSpPr>
          <p:cNvPr id="31" name="Gruppieren 30"/>
          <p:cNvGrpSpPr/>
          <p:nvPr/>
        </p:nvGrpSpPr>
        <p:grpSpPr>
          <a:xfrm>
            <a:off x="4599559" y="2716472"/>
            <a:ext cx="994770" cy="271464"/>
            <a:chOff x="4982855" y="3621963"/>
            <a:chExt cx="1077668" cy="361952"/>
          </a:xfrm>
        </p:grpSpPr>
        <p:sp>
          <p:nvSpPr>
            <p:cNvPr id="203" name="Rechteck 202"/>
            <p:cNvSpPr/>
            <p:nvPr/>
          </p:nvSpPr>
          <p:spPr>
            <a:xfrm>
              <a:off x="4982855" y="3621963"/>
              <a:ext cx="1077668"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11" name="Inhaltsplatzhalter 12"/>
            <p:cNvSpPr txBox="1">
              <a:spLocks/>
            </p:cNvSpPr>
            <p:nvPr/>
          </p:nvSpPr>
          <p:spPr>
            <a:xfrm>
              <a:off x="5040904" y="3690815"/>
              <a:ext cx="1001026"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6"/>
                  </a:solidFill>
                </a:rPr>
                <a:t>Repositories</a:t>
              </a:r>
              <a:endParaRPr lang="de-DE" sz="1200" dirty="0">
                <a:solidFill>
                  <a:schemeClr val="accent6"/>
                </a:solidFill>
              </a:endParaRPr>
            </a:p>
          </p:txBody>
        </p:sp>
      </p:grpSp>
      <p:grpSp>
        <p:nvGrpSpPr>
          <p:cNvPr id="24" name="Gruppieren 23"/>
          <p:cNvGrpSpPr/>
          <p:nvPr/>
        </p:nvGrpSpPr>
        <p:grpSpPr>
          <a:xfrm>
            <a:off x="2119952" y="1922113"/>
            <a:ext cx="1829116" cy="260832"/>
            <a:chOff x="2296615" y="2562817"/>
            <a:chExt cx="1981542" cy="347776"/>
          </a:xfrm>
        </p:grpSpPr>
        <p:sp>
          <p:nvSpPr>
            <p:cNvPr id="3" name="Rechteck 2"/>
            <p:cNvSpPr/>
            <p:nvPr/>
          </p:nvSpPr>
          <p:spPr>
            <a:xfrm>
              <a:off x="2296615" y="2562817"/>
              <a:ext cx="1942694" cy="347776"/>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12" name="Inhaltsplatzhalter 12"/>
            <p:cNvSpPr txBox="1">
              <a:spLocks/>
            </p:cNvSpPr>
            <p:nvPr/>
          </p:nvSpPr>
          <p:spPr>
            <a:xfrm>
              <a:off x="2348121" y="2641410"/>
              <a:ext cx="1930036"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6"/>
                  </a:solidFill>
                </a:rPr>
                <a:t>University Presses/OJS</a:t>
              </a:r>
              <a:endParaRPr lang="de-DE" sz="1200" baseline="30000" dirty="0">
                <a:solidFill>
                  <a:schemeClr val="accent6"/>
                </a:solidFill>
              </a:endParaRPr>
            </a:p>
          </p:txBody>
        </p:sp>
      </p:grpSp>
      <p:grpSp>
        <p:nvGrpSpPr>
          <p:cNvPr id="44" name="Gruppieren 43"/>
          <p:cNvGrpSpPr/>
          <p:nvPr/>
        </p:nvGrpSpPr>
        <p:grpSpPr>
          <a:xfrm>
            <a:off x="2904371" y="3777533"/>
            <a:ext cx="3371105" cy="271464"/>
            <a:chOff x="3146400" y="5036711"/>
            <a:chExt cx="3652030" cy="361952"/>
          </a:xfrm>
        </p:grpSpPr>
        <p:sp>
          <p:nvSpPr>
            <p:cNvPr id="220" name="Rechteck 219"/>
            <p:cNvSpPr/>
            <p:nvPr/>
          </p:nvSpPr>
          <p:spPr>
            <a:xfrm>
              <a:off x="3146400" y="5036711"/>
              <a:ext cx="3635380"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313" name="Inhaltsplatzhalter 12"/>
            <p:cNvSpPr txBox="1">
              <a:spLocks/>
            </p:cNvSpPr>
            <p:nvPr/>
          </p:nvSpPr>
          <p:spPr>
            <a:xfrm>
              <a:off x="3296751" y="5102015"/>
              <a:ext cx="3501679"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a:solidFill>
                    <a:schemeClr val="accent6"/>
                  </a:solidFill>
                </a:rPr>
                <a:t>Community </a:t>
              </a:r>
              <a:r>
                <a:rPr lang="de-DE" sz="1200" dirty="0" err="1">
                  <a:solidFill>
                    <a:schemeClr val="accent6"/>
                  </a:solidFill>
                </a:rPr>
                <a:t>journal</a:t>
              </a:r>
              <a:r>
                <a:rPr lang="de-DE" sz="1200" dirty="0">
                  <a:solidFill>
                    <a:schemeClr val="accent6"/>
                  </a:solidFill>
                </a:rPr>
                <a:t> initiatives (e.g. LINGOA)</a:t>
              </a:r>
              <a:endParaRPr lang="de-DE" sz="1200" baseline="30000" dirty="0">
                <a:solidFill>
                  <a:schemeClr val="accent6"/>
                </a:solidFill>
              </a:endParaRPr>
            </a:p>
          </p:txBody>
        </p:sp>
      </p:grpSp>
      <p:grpSp>
        <p:nvGrpSpPr>
          <p:cNvPr id="35" name="Gruppieren 34"/>
          <p:cNvGrpSpPr/>
          <p:nvPr/>
        </p:nvGrpSpPr>
        <p:grpSpPr>
          <a:xfrm>
            <a:off x="2460011" y="3247196"/>
            <a:ext cx="1808966" cy="271464"/>
            <a:chOff x="2665012" y="4329594"/>
            <a:chExt cx="1959713" cy="361952"/>
          </a:xfrm>
        </p:grpSpPr>
        <p:sp>
          <p:nvSpPr>
            <p:cNvPr id="212" name="Rechteck 211"/>
            <p:cNvSpPr/>
            <p:nvPr/>
          </p:nvSpPr>
          <p:spPr>
            <a:xfrm>
              <a:off x="2665012" y="4329594"/>
              <a:ext cx="1959713"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accent4"/>
                </a:solidFill>
              </a:endParaRPr>
            </a:p>
          </p:txBody>
        </p:sp>
        <p:sp>
          <p:nvSpPr>
            <p:cNvPr id="314" name="Inhaltsplatzhalter 12"/>
            <p:cNvSpPr txBox="1">
              <a:spLocks/>
            </p:cNvSpPr>
            <p:nvPr/>
          </p:nvSpPr>
          <p:spPr>
            <a:xfrm>
              <a:off x="2724212" y="4407781"/>
              <a:ext cx="1667760"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4"/>
                  </a:solidFill>
                </a:rPr>
                <a:t>Cooperative</a:t>
              </a:r>
              <a:r>
                <a:rPr lang="de-DE" sz="1200" dirty="0">
                  <a:solidFill>
                    <a:schemeClr val="accent4"/>
                  </a:solidFill>
                </a:rPr>
                <a:t> </a:t>
              </a:r>
              <a:r>
                <a:rPr lang="de-DE" sz="1200" dirty="0" err="1">
                  <a:solidFill>
                    <a:schemeClr val="accent4"/>
                  </a:solidFill>
                </a:rPr>
                <a:t>models</a:t>
              </a:r>
              <a:endParaRPr lang="de-DE" sz="1200" baseline="30000" dirty="0">
                <a:solidFill>
                  <a:schemeClr val="accent4"/>
                </a:solidFill>
              </a:endParaRPr>
            </a:p>
          </p:txBody>
        </p:sp>
      </p:grpSp>
      <p:grpSp>
        <p:nvGrpSpPr>
          <p:cNvPr id="30" name="Gruppieren 29"/>
          <p:cNvGrpSpPr/>
          <p:nvPr/>
        </p:nvGrpSpPr>
        <p:grpSpPr>
          <a:xfrm>
            <a:off x="6601154" y="1922182"/>
            <a:ext cx="427002" cy="271464"/>
            <a:chOff x="7151250" y="2562909"/>
            <a:chExt cx="462586" cy="361952"/>
          </a:xfrm>
        </p:grpSpPr>
        <p:sp>
          <p:nvSpPr>
            <p:cNvPr id="200" name="Rechteck 199"/>
            <p:cNvSpPr/>
            <p:nvPr/>
          </p:nvSpPr>
          <p:spPr>
            <a:xfrm>
              <a:off x="7151250" y="2562909"/>
              <a:ext cx="462586" cy="361952"/>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15" name="Inhaltsplatzhalter 12"/>
            <p:cNvSpPr txBox="1">
              <a:spLocks/>
            </p:cNvSpPr>
            <p:nvPr/>
          </p:nvSpPr>
          <p:spPr>
            <a:xfrm>
              <a:off x="7183749" y="2641410"/>
              <a:ext cx="419741" cy="246221"/>
            </a:xfrm>
            <a:prstGeom prst="rect">
              <a:avLst/>
            </a:prstGeom>
            <a:noFill/>
          </p:spPr>
          <p:txBody>
            <a:bodyPr vert="horz" wrap="square" lIns="0" tIns="0" rIns="0" bIns="0" rtlCol="0">
              <a:spAutoFit/>
            </a:bodyPr>
            <a:lstStyle>
              <a:lvl1pPr marL="0" marR="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sz="1600" kern="1200">
                  <a:solidFill>
                    <a:schemeClr val="tx2"/>
                  </a:solidFill>
                  <a:latin typeface="+mn-lt"/>
                  <a:ea typeface="+mn-ea"/>
                  <a:cs typeface="+mn-cs"/>
                </a:defRPr>
              </a:lvl1pPr>
              <a:lvl2pPr marL="266700" marR="0" indent="-266700" algn="l" defTabSz="914400" rtl="0" eaLnBrk="1" fontAlgn="auto" latinLnBrk="0" hangingPunct="1">
                <a:lnSpc>
                  <a:spcPct val="100000"/>
                </a:lnSpc>
                <a:spcBef>
                  <a:spcPts val="200"/>
                </a:spcBef>
                <a:spcAft>
                  <a:spcPts val="0"/>
                </a:spcAft>
                <a:buClr>
                  <a:schemeClr val="accent6"/>
                </a:buClr>
                <a:buSzTx/>
                <a:buFont typeface="Times New Roman" panose="02020603050405020304" pitchFamily="18" charset="0"/>
                <a:buChar char="─"/>
                <a:tabLst/>
                <a:defRPr sz="1600" kern="1200">
                  <a:solidFill>
                    <a:schemeClr val="tx2"/>
                  </a:solidFill>
                  <a:latin typeface="+mn-lt"/>
                  <a:ea typeface="+mn-ea"/>
                  <a:cs typeface="+mn-cs"/>
                </a:defRPr>
              </a:lvl2pPr>
              <a:lvl3pPr marL="466725" marR="0" indent="-200025" algn="l" defTabSz="914400" rtl="0" eaLnBrk="1" fontAlgn="auto" latinLnBrk="0" hangingPunct="1">
                <a:lnSpc>
                  <a:spcPct val="100000"/>
                </a:lnSpc>
                <a:spcBef>
                  <a:spcPts val="200"/>
                </a:spcBef>
                <a:spcAft>
                  <a:spcPts val="0"/>
                </a:spcAft>
                <a:buClr>
                  <a:schemeClr val="accent4"/>
                </a:buClr>
                <a:buSzTx/>
                <a:buFont typeface="Symbol" panose="05050102010706020507" pitchFamily="18" charset="2"/>
                <a:buChar char="-"/>
                <a:tabLst/>
                <a:defRPr sz="1600" kern="1200">
                  <a:solidFill>
                    <a:schemeClr val="tx2"/>
                  </a:solidFill>
                  <a:latin typeface="+mn-lt"/>
                  <a:ea typeface="+mn-ea"/>
                  <a:cs typeface="+mn-cs"/>
                </a:defRPr>
              </a:lvl3pPr>
              <a:lvl4pPr marL="641350" marR="0" indent="-161925" algn="l" defTabSz="914400" rtl="0" eaLnBrk="1" fontAlgn="auto" latinLnBrk="0" hangingPunct="1">
                <a:lnSpc>
                  <a:spcPct val="100000"/>
                </a:lnSpc>
                <a:spcBef>
                  <a:spcPts val="200"/>
                </a:spcBef>
                <a:spcAft>
                  <a:spcPts val="0"/>
                </a:spcAft>
                <a:buClr>
                  <a:srgbClr val="606060"/>
                </a:buClr>
                <a:buSzTx/>
                <a:buFont typeface="Symbol" panose="05050102010706020507" pitchFamily="18" charset="2"/>
                <a:buChar char="-"/>
                <a:tabLst/>
                <a:defRPr sz="1600" kern="1200">
                  <a:solidFill>
                    <a:schemeClr val="tx2"/>
                  </a:solidFill>
                  <a:latin typeface="+mn-lt"/>
                  <a:ea typeface="+mn-ea"/>
                  <a:cs typeface="+mn-cs"/>
                </a:defRPr>
              </a:lvl4pPr>
              <a:lvl5pPr marL="808038" marR="0" indent="-179388" algn="l" defTabSz="914400" rtl="0" eaLnBrk="1" fontAlgn="auto" latinLnBrk="0" hangingPunct="1">
                <a:lnSpc>
                  <a:spcPct val="100000"/>
                </a:lnSpc>
                <a:spcBef>
                  <a:spcPts val="200"/>
                </a:spcBef>
                <a:spcAft>
                  <a:spcPts val="0"/>
                </a:spcAft>
                <a:buClr>
                  <a:schemeClr val="accent1"/>
                </a:buClr>
                <a:buSzTx/>
                <a:buFont typeface="Symbol" pitchFamily="18" charset="2"/>
                <a:buChar char="-"/>
                <a:tabLst/>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dirty="0" err="1">
                  <a:solidFill>
                    <a:schemeClr val="accent6"/>
                  </a:solidFill>
                </a:rPr>
                <a:t>arXiv</a:t>
              </a:r>
              <a:endParaRPr lang="de-DE" sz="1200" dirty="0">
                <a:solidFill>
                  <a:schemeClr val="accent6"/>
                </a:solidFill>
              </a:endParaRPr>
            </a:p>
          </p:txBody>
        </p:sp>
      </p:grpSp>
      <p:sp>
        <p:nvSpPr>
          <p:cNvPr id="76" name="Textplatzhalter 75"/>
          <p:cNvSpPr>
            <a:spLocks noGrp="1"/>
          </p:cNvSpPr>
          <p:nvPr>
            <p:ph type="body" sz="quarter" idx="13"/>
          </p:nvPr>
        </p:nvSpPr>
        <p:spPr>
          <a:xfrm>
            <a:off x="279085" y="319711"/>
            <a:ext cx="6623160" cy="523253"/>
          </a:xfrm>
        </p:spPr>
        <p:txBody>
          <a:bodyPr/>
          <a:lstStyle/>
          <a:p>
            <a:r>
              <a:rPr lang="en-US" dirty="0"/>
              <a:t>After 15 years of OA movement, </a:t>
            </a:r>
            <a:br>
              <a:rPr lang="en-US" dirty="0"/>
            </a:br>
            <a:r>
              <a:rPr lang="en-US" dirty="0"/>
              <a:t>the paywall system remains largely </a:t>
            </a:r>
            <a:r>
              <a:rPr lang="en-US" dirty="0" smtClean="0"/>
              <a:t>unaffected</a:t>
            </a:r>
            <a:endParaRPr lang="en-US" dirty="0"/>
          </a:p>
        </p:txBody>
      </p:sp>
      <p:sp>
        <p:nvSpPr>
          <p:cNvPr id="8" name="Foliennummernplatzhalter 4"/>
          <p:cNvSpPr>
            <a:spLocks noGrp="1"/>
          </p:cNvSpPr>
          <p:nvPr>
            <p:ph type="sldNum" sz="quarter" idx="12"/>
          </p:nvPr>
        </p:nvSpPr>
        <p:spPr>
          <a:xfrm>
            <a:off x="8244408" y="4994609"/>
            <a:ext cx="714380" cy="125373"/>
          </a:xfrm>
        </p:spPr>
        <p:txBody>
          <a:bodyPr/>
          <a:lstStyle/>
          <a:p>
            <a:fld id="{4AD1E780-DE1C-4ECA-B5E5-863D0BC53287}" type="slidenum">
              <a:rPr lang="de-DE" smtClean="0">
                <a:solidFill>
                  <a:prstClr val="black">
                    <a:tint val="75000"/>
                  </a:prstClr>
                </a:solidFill>
              </a:rPr>
              <a:pPr/>
              <a:t>11</a:t>
            </a:fld>
            <a:endParaRPr lang="de-DE" dirty="0">
              <a:solidFill>
                <a:prstClr val="black">
                  <a:tint val="75000"/>
                </a:prstClr>
              </a:solidFill>
            </a:endParaRPr>
          </a:p>
        </p:txBody>
      </p:sp>
      <p:sp>
        <p:nvSpPr>
          <p:cNvPr id="118" name="Rechteck 117"/>
          <p:cNvSpPr/>
          <p:nvPr/>
        </p:nvSpPr>
        <p:spPr>
          <a:xfrm rot="5400000">
            <a:off x="4299168" y="2711499"/>
            <a:ext cx="232456" cy="287692"/>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Tree>
    <p:extLst>
      <p:ext uri="{BB962C8B-B14F-4D97-AF65-F5344CB8AC3E}">
        <p14:creationId xmlns:p14="http://schemas.microsoft.com/office/powerpoint/2010/main" val="11952465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uppieren 27"/>
          <p:cNvGrpSpPr/>
          <p:nvPr/>
        </p:nvGrpSpPr>
        <p:grpSpPr>
          <a:xfrm>
            <a:off x="1585829" y="1943848"/>
            <a:ext cx="5660450" cy="2087390"/>
            <a:chOff x="1717981" y="2591794"/>
            <a:chExt cx="6132154" cy="2783187"/>
          </a:xfrm>
        </p:grpSpPr>
        <p:sp>
          <p:nvSpPr>
            <p:cNvPr id="204" name="Rechteck 203"/>
            <p:cNvSpPr/>
            <p:nvPr/>
          </p:nvSpPr>
          <p:spPr>
            <a:xfrm rot="5400000">
              <a:off x="1901033" y="2760913"/>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05" name="Rechteck 204"/>
            <p:cNvSpPr/>
            <p:nvPr/>
          </p:nvSpPr>
          <p:spPr>
            <a:xfrm rot="5400000">
              <a:off x="2262898" y="2410469"/>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06" name="Rechteck 205"/>
            <p:cNvSpPr/>
            <p:nvPr/>
          </p:nvSpPr>
          <p:spPr>
            <a:xfrm rot="5400000">
              <a:off x="6636285" y="2408742"/>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07" name="Rechteck 206"/>
            <p:cNvSpPr/>
            <p:nvPr/>
          </p:nvSpPr>
          <p:spPr>
            <a:xfrm rot="5400000">
              <a:off x="7357142" y="2408742"/>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08" name="Rechteck 207"/>
            <p:cNvSpPr/>
            <p:nvPr/>
          </p:nvSpPr>
          <p:spPr>
            <a:xfrm rot="5400000">
              <a:off x="5910848" y="382185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09" name="Rechteck 208"/>
            <p:cNvSpPr/>
            <p:nvPr/>
          </p:nvSpPr>
          <p:spPr>
            <a:xfrm rot="5400000">
              <a:off x="5180662" y="3114701"/>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10" name="Rechteck 209"/>
            <p:cNvSpPr/>
            <p:nvPr/>
          </p:nvSpPr>
          <p:spPr>
            <a:xfrm rot="5400000">
              <a:off x="4814864" y="3464916"/>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13" name="Rechteck 212"/>
            <p:cNvSpPr/>
            <p:nvPr/>
          </p:nvSpPr>
          <p:spPr>
            <a:xfrm rot="5400000">
              <a:off x="6993865" y="488198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14" name="Rechteck 213"/>
            <p:cNvSpPr/>
            <p:nvPr/>
          </p:nvSpPr>
          <p:spPr>
            <a:xfrm rot="5400000">
              <a:off x="2623512" y="417233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15" name="Rechteck 214"/>
            <p:cNvSpPr/>
            <p:nvPr/>
          </p:nvSpPr>
          <p:spPr>
            <a:xfrm rot="5400000">
              <a:off x="2991655" y="3114133"/>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sp>
        <p:nvSpPr>
          <p:cNvPr id="291" name="Rechteck 290"/>
          <p:cNvSpPr/>
          <p:nvPr/>
        </p:nvSpPr>
        <p:spPr>
          <a:xfrm rot="16200000" flipH="1">
            <a:off x="4640797" y="2440843"/>
            <a:ext cx="232456" cy="28769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83" name="Rechteck 282"/>
          <p:cNvSpPr/>
          <p:nvPr/>
        </p:nvSpPr>
        <p:spPr>
          <a:xfrm rot="5400000" flipH="1">
            <a:off x="6703629" y="1861004"/>
            <a:ext cx="232456" cy="395238"/>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76" name="Rechteck 275"/>
          <p:cNvSpPr/>
          <p:nvPr/>
        </p:nvSpPr>
        <p:spPr>
          <a:xfrm rot="5400000" flipH="1">
            <a:off x="6040310" y="1851192"/>
            <a:ext cx="232456" cy="41486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69" name="Rechteck 268"/>
          <p:cNvSpPr/>
          <p:nvPr/>
        </p:nvSpPr>
        <p:spPr>
          <a:xfrm rot="16200000">
            <a:off x="1891633" y="2117197"/>
            <a:ext cx="232456" cy="41486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61" name="Rechteck 260"/>
          <p:cNvSpPr/>
          <p:nvPr/>
        </p:nvSpPr>
        <p:spPr>
          <a:xfrm rot="16200000">
            <a:off x="2224786" y="1851192"/>
            <a:ext cx="232456" cy="41486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94" name="Rechteck 193"/>
          <p:cNvSpPr/>
          <p:nvPr/>
        </p:nvSpPr>
        <p:spPr>
          <a:xfrm rot="5400000">
            <a:off x="2561540" y="3176191"/>
            <a:ext cx="232456" cy="41486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9" name="Rechteck 18"/>
          <p:cNvSpPr/>
          <p:nvPr/>
        </p:nvSpPr>
        <p:spPr>
          <a:xfrm rot="5400000">
            <a:off x="1779513" y="2542218"/>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6" name="Rechteck 35"/>
          <p:cNvSpPr/>
          <p:nvPr/>
        </p:nvSpPr>
        <p:spPr>
          <a:xfrm rot="5400000">
            <a:off x="2452003"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7" name="Rechteck 36"/>
          <p:cNvSpPr/>
          <p:nvPr/>
        </p:nvSpPr>
        <p:spPr>
          <a:xfrm rot="5400000">
            <a:off x="3124491"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8" name="Rechteck 37"/>
          <p:cNvSpPr/>
          <p:nvPr/>
        </p:nvSpPr>
        <p:spPr>
          <a:xfrm rot="5400000">
            <a:off x="3796981"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9" name="Rechteck 38"/>
          <p:cNvSpPr/>
          <p:nvPr/>
        </p:nvSpPr>
        <p:spPr>
          <a:xfrm rot="5400000">
            <a:off x="4637542" y="2710716"/>
            <a:ext cx="232456" cy="287901"/>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0" name="Rechteck 39"/>
          <p:cNvSpPr/>
          <p:nvPr/>
        </p:nvSpPr>
        <p:spPr>
          <a:xfrm rot="5400000">
            <a:off x="5141962"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1" name="Rechteck 40"/>
          <p:cNvSpPr/>
          <p:nvPr/>
        </p:nvSpPr>
        <p:spPr>
          <a:xfrm rot="5400000">
            <a:off x="5814453" y="2543069"/>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2" name="Rechteck 41"/>
          <p:cNvSpPr/>
          <p:nvPr/>
        </p:nvSpPr>
        <p:spPr>
          <a:xfrm rot="5400000">
            <a:off x="2115651" y="2807464"/>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3" name="Rechteck 42"/>
          <p:cNvSpPr/>
          <p:nvPr/>
        </p:nvSpPr>
        <p:spPr>
          <a:xfrm rot="5400000">
            <a:off x="2788141"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6" name="Rechteck 45"/>
          <p:cNvSpPr/>
          <p:nvPr/>
        </p:nvSpPr>
        <p:spPr>
          <a:xfrm rot="5400000">
            <a:off x="3460631"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7" name="Rechteck 46"/>
          <p:cNvSpPr/>
          <p:nvPr/>
        </p:nvSpPr>
        <p:spPr>
          <a:xfrm rot="5400000">
            <a:off x="4133122"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8" name="Rechteck 47"/>
          <p:cNvSpPr/>
          <p:nvPr/>
        </p:nvSpPr>
        <p:spPr>
          <a:xfrm rot="5400000">
            <a:off x="4805614"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3" name="Rechteck 52"/>
          <p:cNvSpPr/>
          <p:nvPr/>
        </p:nvSpPr>
        <p:spPr>
          <a:xfrm rot="5400000">
            <a:off x="1779513" y="307075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5" name="Rechteck 54"/>
          <p:cNvSpPr/>
          <p:nvPr/>
        </p:nvSpPr>
        <p:spPr>
          <a:xfrm rot="5400000">
            <a:off x="312449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6" name="Rechteck 65"/>
          <p:cNvSpPr/>
          <p:nvPr/>
        </p:nvSpPr>
        <p:spPr>
          <a:xfrm rot="5400000">
            <a:off x="379698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7" name="Rechteck 66"/>
          <p:cNvSpPr/>
          <p:nvPr/>
        </p:nvSpPr>
        <p:spPr>
          <a:xfrm rot="5400000">
            <a:off x="446947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8" name="Rechteck 67"/>
          <p:cNvSpPr/>
          <p:nvPr/>
        </p:nvSpPr>
        <p:spPr>
          <a:xfrm rot="5400000">
            <a:off x="5141962"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9" name="Rechteck 68"/>
          <p:cNvSpPr/>
          <p:nvPr/>
        </p:nvSpPr>
        <p:spPr>
          <a:xfrm rot="5400000">
            <a:off x="5814453" y="30716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0" name="Rechteck 69"/>
          <p:cNvSpPr/>
          <p:nvPr/>
        </p:nvSpPr>
        <p:spPr>
          <a:xfrm rot="5400000">
            <a:off x="2115651" y="33359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1" name="Rechteck 70"/>
          <p:cNvSpPr/>
          <p:nvPr/>
        </p:nvSpPr>
        <p:spPr>
          <a:xfrm rot="5400000">
            <a:off x="2788141"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2" name="Rechteck 71"/>
          <p:cNvSpPr/>
          <p:nvPr/>
        </p:nvSpPr>
        <p:spPr>
          <a:xfrm rot="5400000">
            <a:off x="3460631"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3" name="Rechteck 72"/>
          <p:cNvSpPr/>
          <p:nvPr/>
        </p:nvSpPr>
        <p:spPr>
          <a:xfrm rot="5400000">
            <a:off x="4133122"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4" name="Rechteck 73"/>
          <p:cNvSpPr/>
          <p:nvPr/>
        </p:nvSpPr>
        <p:spPr>
          <a:xfrm rot="5400000">
            <a:off x="4805614"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5" name="Rechteck 74"/>
          <p:cNvSpPr/>
          <p:nvPr/>
        </p:nvSpPr>
        <p:spPr>
          <a:xfrm rot="5400000">
            <a:off x="5478104"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9" name="Rechteck 78"/>
          <p:cNvSpPr/>
          <p:nvPr/>
        </p:nvSpPr>
        <p:spPr>
          <a:xfrm rot="5400000">
            <a:off x="2452003"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0" name="Rechteck 79"/>
          <p:cNvSpPr/>
          <p:nvPr/>
        </p:nvSpPr>
        <p:spPr>
          <a:xfrm rot="5400000">
            <a:off x="312449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1" name="Rechteck 80"/>
          <p:cNvSpPr/>
          <p:nvPr/>
        </p:nvSpPr>
        <p:spPr>
          <a:xfrm rot="5400000">
            <a:off x="379698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2" name="Rechteck 81"/>
          <p:cNvSpPr/>
          <p:nvPr/>
        </p:nvSpPr>
        <p:spPr>
          <a:xfrm rot="5400000">
            <a:off x="446947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3" name="Rechteck 82"/>
          <p:cNvSpPr/>
          <p:nvPr/>
        </p:nvSpPr>
        <p:spPr>
          <a:xfrm rot="5400000">
            <a:off x="5141962"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4" name="Rechteck 83"/>
          <p:cNvSpPr/>
          <p:nvPr/>
        </p:nvSpPr>
        <p:spPr>
          <a:xfrm rot="5400000">
            <a:off x="5814453" y="20127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5" name="Rechteck 84"/>
          <p:cNvSpPr/>
          <p:nvPr/>
        </p:nvSpPr>
        <p:spPr>
          <a:xfrm rot="5400000">
            <a:off x="2115651" y="22770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7" name="Rechteck 86"/>
          <p:cNvSpPr/>
          <p:nvPr/>
        </p:nvSpPr>
        <p:spPr>
          <a:xfrm rot="5400000">
            <a:off x="3460631"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8" name="Rechteck 87"/>
          <p:cNvSpPr/>
          <p:nvPr/>
        </p:nvSpPr>
        <p:spPr>
          <a:xfrm rot="5400000">
            <a:off x="4133122"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0" name="Rechteck 89"/>
          <p:cNvSpPr/>
          <p:nvPr/>
        </p:nvSpPr>
        <p:spPr>
          <a:xfrm rot="5400000">
            <a:off x="5478104"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5" name="Rechteck 94"/>
          <p:cNvSpPr/>
          <p:nvPr/>
        </p:nvSpPr>
        <p:spPr>
          <a:xfrm rot="5400000">
            <a:off x="1612399" y="2975428"/>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6" name="Rechteck 95"/>
          <p:cNvSpPr/>
          <p:nvPr/>
        </p:nvSpPr>
        <p:spPr>
          <a:xfrm rot="5400000">
            <a:off x="1612399" y="244593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7" name="Rechteck 96"/>
          <p:cNvSpPr/>
          <p:nvPr/>
        </p:nvSpPr>
        <p:spPr>
          <a:xfrm rot="5400000">
            <a:off x="1612399" y="3503960"/>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8" name="Rechteck 97"/>
          <p:cNvSpPr/>
          <p:nvPr/>
        </p:nvSpPr>
        <p:spPr>
          <a:xfrm rot="5400000">
            <a:off x="1779513" y="148238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9" name="Rechteck 98"/>
          <p:cNvSpPr/>
          <p:nvPr/>
        </p:nvSpPr>
        <p:spPr>
          <a:xfrm rot="5400000">
            <a:off x="2452003"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0" name="Rechteck 99"/>
          <p:cNvSpPr/>
          <p:nvPr/>
        </p:nvSpPr>
        <p:spPr>
          <a:xfrm rot="5400000">
            <a:off x="3124491"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1" name="Rechteck 100"/>
          <p:cNvSpPr/>
          <p:nvPr/>
        </p:nvSpPr>
        <p:spPr>
          <a:xfrm rot="5400000">
            <a:off x="3796981"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2" name="Rechteck 101"/>
          <p:cNvSpPr/>
          <p:nvPr/>
        </p:nvSpPr>
        <p:spPr>
          <a:xfrm rot="5400000">
            <a:off x="4469471"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3" name="Rechteck 102"/>
          <p:cNvSpPr/>
          <p:nvPr/>
        </p:nvSpPr>
        <p:spPr>
          <a:xfrm rot="5400000">
            <a:off x="5141962" y="148280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4" name="Rechteck 103"/>
          <p:cNvSpPr/>
          <p:nvPr/>
        </p:nvSpPr>
        <p:spPr>
          <a:xfrm rot="5400000">
            <a:off x="5814453" y="148323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6" name="Rechteck 105"/>
          <p:cNvSpPr/>
          <p:nvPr/>
        </p:nvSpPr>
        <p:spPr>
          <a:xfrm rot="5400000">
            <a:off x="2788141"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7" name="Rechteck 106"/>
          <p:cNvSpPr/>
          <p:nvPr/>
        </p:nvSpPr>
        <p:spPr>
          <a:xfrm rot="5400000">
            <a:off x="3460631"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8" name="Rechteck 107"/>
          <p:cNvSpPr/>
          <p:nvPr/>
        </p:nvSpPr>
        <p:spPr>
          <a:xfrm rot="5400000">
            <a:off x="4133122"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9" name="Rechteck 108"/>
          <p:cNvSpPr/>
          <p:nvPr/>
        </p:nvSpPr>
        <p:spPr>
          <a:xfrm rot="5400000">
            <a:off x="4805614"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0" name="Rechteck 109"/>
          <p:cNvSpPr/>
          <p:nvPr/>
        </p:nvSpPr>
        <p:spPr>
          <a:xfrm rot="5400000">
            <a:off x="5478104"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2" name="Rechteck 111"/>
          <p:cNvSpPr/>
          <p:nvPr/>
        </p:nvSpPr>
        <p:spPr>
          <a:xfrm rot="5400000">
            <a:off x="6985142" y="1650347"/>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3" name="Rechteck 112"/>
          <p:cNvSpPr/>
          <p:nvPr/>
        </p:nvSpPr>
        <p:spPr>
          <a:xfrm rot="5400000">
            <a:off x="1612399" y="191646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4" name="Rechteck 113"/>
          <p:cNvSpPr/>
          <p:nvPr/>
        </p:nvSpPr>
        <p:spPr>
          <a:xfrm rot="5400000">
            <a:off x="2620175" y="2445696"/>
            <a:ext cx="232456" cy="28769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9" name="Rechteck 48"/>
          <p:cNvSpPr/>
          <p:nvPr/>
        </p:nvSpPr>
        <p:spPr>
          <a:xfrm rot="5400000">
            <a:off x="5373514" y="2912479"/>
            <a:ext cx="232456" cy="41486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8" name="Rechteck 227"/>
          <p:cNvSpPr/>
          <p:nvPr/>
        </p:nvSpPr>
        <p:spPr>
          <a:xfrm rot="5400000">
            <a:off x="1774810" y="359864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9" name="Rechteck 228"/>
          <p:cNvSpPr/>
          <p:nvPr/>
        </p:nvSpPr>
        <p:spPr>
          <a:xfrm rot="5400000">
            <a:off x="244730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0" name="Rechteck 229"/>
          <p:cNvSpPr/>
          <p:nvPr/>
        </p:nvSpPr>
        <p:spPr>
          <a:xfrm rot="5400000">
            <a:off x="311979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1" name="Rechteck 230"/>
          <p:cNvSpPr/>
          <p:nvPr/>
        </p:nvSpPr>
        <p:spPr>
          <a:xfrm rot="5400000">
            <a:off x="379228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2" name="Rechteck 231"/>
          <p:cNvSpPr/>
          <p:nvPr/>
        </p:nvSpPr>
        <p:spPr>
          <a:xfrm rot="5400000">
            <a:off x="4464770"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3" name="Rechteck 232"/>
          <p:cNvSpPr/>
          <p:nvPr/>
        </p:nvSpPr>
        <p:spPr>
          <a:xfrm rot="5400000">
            <a:off x="5137260"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4" name="Rechteck 233"/>
          <p:cNvSpPr/>
          <p:nvPr/>
        </p:nvSpPr>
        <p:spPr>
          <a:xfrm rot="5400000">
            <a:off x="5809750" y="359949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5" name="Rechteck 234"/>
          <p:cNvSpPr/>
          <p:nvPr/>
        </p:nvSpPr>
        <p:spPr>
          <a:xfrm rot="5400000">
            <a:off x="2110952" y="386389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6" name="Rechteck 235"/>
          <p:cNvSpPr/>
          <p:nvPr/>
        </p:nvSpPr>
        <p:spPr>
          <a:xfrm rot="5400000">
            <a:off x="278344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7" name="Rechteck 236"/>
          <p:cNvSpPr/>
          <p:nvPr/>
        </p:nvSpPr>
        <p:spPr>
          <a:xfrm rot="5400000">
            <a:off x="345593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8" name="Rechteck 237"/>
          <p:cNvSpPr/>
          <p:nvPr/>
        </p:nvSpPr>
        <p:spPr>
          <a:xfrm rot="5400000">
            <a:off x="412842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9" name="Rechteck 238"/>
          <p:cNvSpPr/>
          <p:nvPr/>
        </p:nvSpPr>
        <p:spPr>
          <a:xfrm rot="5400000">
            <a:off x="480091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0" name="Rechteck 239"/>
          <p:cNvSpPr/>
          <p:nvPr/>
        </p:nvSpPr>
        <p:spPr>
          <a:xfrm rot="5400000">
            <a:off x="5473402"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3" name="Rechteck 242"/>
          <p:cNvSpPr/>
          <p:nvPr/>
        </p:nvSpPr>
        <p:spPr>
          <a:xfrm rot="5400000">
            <a:off x="1607698" y="402741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0" name="Rechteck 249"/>
          <p:cNvSpPr/>
          <p:nvPr/>
        </p:nvSpPr>
        <p:spPr>
          <a:xfrm rot="5400000">
            <a:off x="6484929" y="148323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3" name="Rechteck 252"/>
          <p:cNvSpPr/>
          <p:nvPr/>
        </p:nvSpPr>
        <p:spPr>
          <a:xfrm rot="5400000">
            <a:off x="6143878"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2" name="Rechteck 51"/>
          <p:cNvSpPr/>
          <p:nvPr/>
        </p:nvSpPr>
        <p:spPr>
          <a:xfrm rot="5400000">
            <a:off x="6818029" y="2807444"/>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7" name="Rechteck 76"/>
          <p:cNvSpPr/>
          <p:nvPr/>
        </p:nvSpPr>
        <p:spPr>
          <a:xfrm rot="5400000">
            <a:off x="6818029" y="33359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1" name="Rechteck 90"/>
          <p:cNvSpPr/>
          <p:nvPr/>
        </p:nvSpPr>
        <p:spPr>
          <a:xfrm rot="5400000">
            <a:off x="6818029" y="227707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2" name="Rechteck 91"/>
          <p:cNvSpPr/>
          <p:nvPr/>
        </p:nvSpPr>
        <p:spPr>
          <a:xfrm rot="5400000">
            <a:off x="6985142" y="2709311"/>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3" name="Rechteck 92"/>
          <p:cNvSpPr/>
          <p:nvPr/>
        </p:nvSpPr>
        <p:spPr>
          <a:xfrm rot="5400000">
            <a:off x="6985142" y="2179814"/>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4" name="Rechteck 93"/>
          <p:cNvSpPr/>
          <p:nvPr/>
        </p:nvSpPr>
        <p:spPr>
          <a:xfrm rot="5400000">
            <a:off x="6985142" y="3237845"/>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1" name="Rechteck 240"/>
          <p:cNvSpPr/>
          <p:nvPr/>
        </p:nvSpPr>
        <p:spPr>
          <a:xfrm rot="5400000">
            <a:off x="6813330" y="386387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2" name="Rechteck 241"/>
          <p:cNvSpPr/>
          <p:nvPr/>
        </p:nvSpPr>
        <p:spPr>
          <a:xfrm rot="5400000">
            <a:off x="6980443" y="3766610"/>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4" name="Rechteck 243"/>
          <p:cNvSpPr/>
          <p:nvPr/>
        </p:nvSpPr>
        <p:spPr>
          <a:xfrm rot="5400000">
            <a:off x="6484929" y="2543069"/>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5" name="Rechteck 244"/>
          <p:cNvSpPr/>
          <p:nvPr/>
        </p:nvSpPr>
        <p:spPr>
          <a:xfrm rot="5400000">
            <a:off x="6156129" y="2806882"/>
            <a:ext cx="232456" cy="62605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6" name="Rechteck 245"/>
          <p:cNvSpPr/>
          <p:nvPr/>
        </p:nvSpPr>
        <p:spPr>
          <a:xfrm rot="5400000">
            <a:off x="6484929" y="30716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7" name="Rechteck 246"/>
          <p:cNvSpPr/>
          <p:nvPr/>
        </p:nvSpPr>
        <p:spPr>
          <a:xfrm rot="5400000">
            <a:off x="6148580"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8" name="Rechteck 247"/>
          <p:cNvSpPr/>
          <p:nvPr/>
        </p:nvSpPr>
        <p:spPr>
          <a:xfrm rot="5400000">
            <a:off x="6484929" y="20127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9" name="Rechteck 248"/>
          <p:cNvSpPr/>
          <p:nvPr/>
        </p:nvSpPr>
        <p:spPr>
          <a:xfrm rot="5400000">
            <a:off x="6148580"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00" name="Rechteck 299"/>
          <p:cNvSpPr/>
          <p:nvPr/>
        </p:nvSpPr>
        <p:spPr>
          <a:xfrm rot="5400000" flipH="1">
            <a:off x="6586654" y="3704800"/>
            <a:ext cx="232456" cy="41486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6" name="Textplatzhalter 75"/>
          <p:cNvSpPr>
            <a:spLocks noGrp="1"/>
          </p:cNvSpPr>
          <p:nvPr>
            <p:ph type="body" sz="quarter" idx="13"/>
          </p:nvPr>
        </p:nvSpPr>
        <p:spPr>
          <a:xfrm>
            <a:off x="279085" y="319711"/>
            <a:ext cx="6623160" cy="523253"/>
          </a:xfrm>
        </p:spPr>
        <p:txBody>
          <a:bodyPr/>
          <a:lstStyle/>
          <a:p>
            <a:r>
              <a:rPr lang="en-US" dirty="0"/>
              <a:t>After 15 years of OA movement, </a:t>
            </a:r>
            <a:br>
              <a:rPr lang="en-US" dirty="0"/>
            </a:br>
            <a:r>
              <a:rPr lang="en-US" dirty="0"/>
              <a:t>the paywall system remains largely unaffected</a:t>
            </a:r>
          </a:p>
        </p:txBody>
      </p:sp>
      <p:sp>
        <p:nvSpPr>
          <p:cNvPr id="8" name="Foliennummernplatzhalter 4"/>
          <p:cNvSpPr>
            <a:spLocks noGrp="1"/>
          </p:cNvSpPr>
          <p:nvPr>
            <p:ph type="sldNum" sz="quarter" idx="12"/>
          </p:nvPr>
        </p:nvSpPr>
        <p:spPr>
          <a:xfrm>
            <a:off x="8244408" y="4994609"/>
            <a:ext cx="714380" cy="125373"/>
          </a:xfrm>
        </p:spPr>
        <p:txBody>
          <a:bodyPr/>
          <a:lstStyle/>
          <a:p>
            <a:fld id="{4AD1E780-DE1C-4ECA-B5E5-863D0BC53287}" type="slidenum">
              <a:rPr lang="de-DE" smtClean="0">
                <a:solidFill>
                  <a:prstClr val="black">
                    <a:tint val="75000"/>
                  </a:prstClr>
                </a:solidFill>
              </a:rPr>
              <a:pPr/>
              <a:t>12</a:t>
            </a:fld>
            <a:endParaRPr lang="de-DE" dirty="0">
              <a:solidFill>
                <a:prstClr val="black">
                  <a:tint val="75000"/>
                </a:prstClr>
              </a:solidFill>
            </a:endParaRPr>
          </a:p>
        </p:txBody>
      </p:sp>
      <p:sp>
        <p:nvSpPr>
          <p:cNvPr id="290" name="Rechteck 289"/>
          <p:cNvSpPr/>
          <p:nvPr/>
        </p:nvSpPr>
        <p:spPr>
          <a:xfrm rot="16200000" flipH="1">
            <a:off x="4975608" y="2440842"/>
            <a:ext cx="232456" cy="287692"/>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85" name="Rechteck 284"/>
          <p:cNvSpPr/>
          <p:nvPr/>
        </p:nvSpPr>
        <p:spPr>
          <a:xfrm rot="5400000" flipH="1">
            <a:off x="7031801" y="1969466"/>
            <a:ext cx="229545" cy="180372"/>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78" name="Rechteck 277"/>
          <p:cNvSpPr/>
          <p:nvPr/>
        </p:nvSpPr>
        <p:spPr>
          <a:xfrm rot="5400000" flipH="1">
            <a:off x="6378296" y="1969466"/>
            <a:ext cx="229545" cy="180372"/>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71" name="Rechteck 270"/>
          <p:cNvSpPr/>
          <p:nvPr/>
        </p:nvSpPr>
        <p:spPr>
          <a:xfrm rot="16200000">
            <a:off x="1556560" y="2235473"/>
            <a:ext cx="229545" cy="180372"/>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63" name="Rechteck 262"/>
          <p:cNvSpPr/>
          <p:nvPr/>
        </p:nvSpPr>
        <p:spPr>
          <a:xfrm rot="16200000">
            <a:off x="1889711" y="1969466"/>
            <a:ext cx="229545" cy="180372"/>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96" name="Rechteck 195"/>
          <p:cNvSpPr/>
          <p:nvPr/>
        </p:nvSpPr>
        <p:spPr>
          <a:xfrm rot="16200000" flipH="1">
            <a:off x="2225655" y="3292196"/>
            <a:ext cx="229970" cy="180372"/>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6" name="Rechteck 85"/>
          <p:cNvSpPr/>
          <p:nvPr/>
        </p:nvSpPr>
        <p:spPr>
          <a:xfrm rot="5400000">
            <a:off x="2956318" y="2445696"/>
            <a:ext cx="232456" cy="287692"/>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56" name="Rechteck 155"/>
          <p:cNvSpPr/>
          <p:nvPr/>
        </p:nvSpPr>
        <p:spPr>
          <a:xfrm rot="5400000">
            <a:off x="5711502" y="3028697"/>
            <a:ext cx="229545" cy="180372"/>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02" name="Rechteck 301"/>
          <p:cNvSpPr/>
          <p:nvPr/>
        </p:nvSpPr>
        <p:spPr>
          <a:xfrm rot="5400000">
            <a:off x="6255790" y="3822593"/>
            <a:ext cx="229545" cy="180372"/>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8" name="Rechteck 117"/>
          <p:cNvSpPr/>
          <p:nvPr/>
        </p:nvSpPr>
        <p:spPr>
          <a:xfrm rot="5400000">
            <a:off x="4299168" y="2711499"/>
            <a:ext cx="232456" cy="287692"/>
          </a:xfrm>
          <a:prstGeom prst="rect">
            <a:avLst/>
          </a:prstGeom>
          <a:solidFill>
            <a:schemeClr val="bg1"/>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grpSp>
        <p:nvGrpSpPr>
          <p:cNvPr id="216" name="Gruppieren 215"/>
          <p:cNvGrpSpPr/>
          <p:nvPr/>
        </p:nvGrpSpPr>
        <p:grpSpPr>
          <a:xfrm>
            <a:off x="1583718" y="1679026"/>
            <a:ext cx="5662560" cy="116228"/>
            <a:chOff x="1715694" y="2238699"/>
            <a:chExt cx="6134440" cy="309942"/>
          </a:xfrm>
          <a:solidFill>
            <a:schemeClr val="bg1"/>
          </a:solidFill>
        </p:grpSpPr>
        <p:sp>
          <p:nvSpPr>
            <p:cNvPr id="217" name="Rechteck 216"/>
            <p:cNvSpPr/>
            <p:nvPr/>
          </p:nvSpPr>
          <p:spPr>
            <a:xfrm rot="5400000">
              <a:off x="1898746" y="2055648"/>
              <a:ext cx="309941" cy="676045"/>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18" name="Rechteck 217"/>
            <p:cNvSpPr/>
            <p:nvPr/>
          </p:nvSpPr>
          <p:spPr>
            <a:xfrm rot="5400000">
              <a:off x="2627277" y="2055648"/>
              <a:ext cx="309941" cy="676045"/>
            </a:xfrm>
            <a:prstGeom prst="rect">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19" name="Rechteck 218"/>
            <p:cNvSpPr/>
            <p:nvPr/>
          </p:nvSpPr>
          <p:spPr>
            <a:xfrm rot="5400000">
              <a:off x="3355808" y="2055648"/>
              <a:ext cx="309941" cy="676045"/>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21" name="Rechteck 220"/>
            <p:cNvSpPr/>
            <p:nvPr/>
          </p:nvSpPr>
          <p:spPr>
            <a:xfrm rot="5400000">
              <a:off x="4084339" y="2055648"/>
              <a:ext cx="309941" cy="676045"/>
            </a:xfrm>
            <a:prstGeom prst="rect">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22" name="Rechteck 221"/>
            <p:cNvSpPr/>
            <p:nvPr/>
          </p:nvSpPr>
          <p:spPr>
            <a:xfrm rot="5400000">
              <a:off x="4812870" y="2055648"/>
              <a:ext cx="309941" cy="676045"/>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23" name="Rechteck 222"/>
            <p:cNvSpPr/>
            <p:nvPr/>
          </p:nvSpPr>
          <p:spPr>
            <a:xfrm rot="5400000">
              <a:off x="5541401" y="2055648"/>
              <a:ext cx="309941" cy="676045"/>
            </a:xfrm>
            <a:prstGeom prst="rect">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24" name="Rechteck 223"/>
            <p:cNvSpPr/>
            <p:nvPr/>
          </p:nvSpPr>
          <p:spPr>
            <a:xfrm rot="5400000">
              <a:off x="6269931" y="2055648"/>
              <a:ext cx="309941" cy="676045"/>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26" name="Rechteck 225"/>
            <p:cNvSpPr/>
            <p:nvPr/>
          </p:nvSpPr>
          <p:spPr>
            <a:xfrm rot="5400000">
              <a:off x="7538180" y="2236687"/>
              <a:ext cx="309941" cy="313966"/>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27" name="Rechteck 226"/>
            <p:cNvSpPr/>
            <p:nvPr/>
          </p:nvSpPr>
          <p:spPr>
            <a:xfrm rot="5400000">
              <a:off x="6996280" y="2055648"/>
              <a:ext cx="309941" cy="676045"/>
            </a:xfrm>
            <a:prstGeom prst="rect">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spTree>
    <p:extLst>
      <p:ext uri="{BB962C8B-B14F-4D97-AF65-F5344CB8AC3E}">
        <p14:creationId xmlns:p14="http://schemas.microsoft.com/office/powerpoint/2010/main" val="2912934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withEffect">
                                  <p:stCondLst>
                                    <p:cond delay="0"/>
                                  </p:stCondLst>
                                  <p:childTnLst>
                                    <p:animMotion origin="layout" path="M -3.77123E-6 -4.13235E-6 L -3.77123E-6 -0.10203 " pathEditMode="relative" rAng="0" ptsTypes="AA">
                                      <p:cBhvr>
                                        <p:cTn id="6" dur="2000" fill="hold"/>
                                        <p:tgtEl>
                                          <p:spTgt spid="271"/>
                                        </p:tgtEl>
                                        <p:attrNameLst>
                                          <p:attrName>ppt_x</p:attrName>
                                          <p:attrName>ppt_y</p:attrName>
                                        </p:attrNameLst>
                                      </p:cBhvr>
                                      <p:rCtr x="0" y="-5113"/>
                                    </p:animMotion>
                                  </p:childTnLst>
                                </p:cTn>
                              </p:par>
                              <p:par>
                                <p:cTn id="7" presetID="42" presetClass="path" presetSubtype="0" accel="50000" decel="50000" fill="hold" grpId="0" nodeType="withEffect">
                                  <p:stCondLst>
                                    <p:cond delay="0"/>
                                  </p:stCondLst>
                                  <p:childTnLst>
                                    <p:animMotion origin="layout" path="M -3.2041E-7 3.72513E-6 L 0.0008 -0.0516 " pathEditMode="relative" rAng="0" ptsTypes="AA">
                                      <p:cBhvr>
                                        <p:cTn id="8" dur="2000" fill="hold"/>
                                        <p:tgtEl>
                                          <p:spTgt spid="263"/>
                                        </p:tgtEl>
                                        <p:attrNameLst>
                                          <p:attrName>ppt_x</p:attrName>
                                          <p:attrName>ppt_y</p:attrName>
                                        </p:attrNameLst>
                                      </p:cBhvr>
                                      <p:rCtr x="32" y="-2591"/>
                                    </p:animMotion>
                                  </p:childTnLst>
                                </p:cTn>
                              </p:par>
                              <p:par>
                                <p:cTn id="9" presetID="42" presetClass="path" presetSubtype="0" accel="50000" decel="50000" fill="hold" grpId="0" nodeType="withEffect">
                                  <p:stCondLst>
                                    <p:cond delay="0"/>
                                  </p:stCondLst>
                                  <p:childTnLst>
                                    <p:animMotion origin="layout" path="M 1.36815E-6 3.72513E-6 L -0.0008 -0.0516 " pathEditMode="relative" rAng="0" ptsTypes="AA">
                                      <p:cBhvr>
                                        <p:cTn id="10" dur="2000" fill="hold"/>
                                        <p:tgtEl>
                                          <p:spTgt spid="278"/>
                                        </p:tgtEl>
                                        <p:attrNameLst>
                                          <p:attrName>ppt_x</p:attrName>
                                          <p:attrName>ppt_y</p:attrName>
                                        </p:attrNameLst>
                                      </p:cBhvr>
                                      <p:rCtr x="-48" y="-2591"/>
                                    </p:animMotion>
                                  </p:childTnLst>
                                </p:cTn>
                              </p:par>
                              <p:par>
                                <p:cTn id="11" presetID="42" presetClass="path" presetSubtype="0" accel="50000" decel="50000" fill="hold" grpId="0" nodeType="withEffect">
                                  <p:stCondLst>
                                    <p:cond delay="0"/>
                                  </p:stCondLst>
                                  <p:childTnLst>
                                    <p:animMotion origin="layout" path="M -8.97148E-8 3.72513E-6 L -8.97148E-8 -0.0516 " pathEditMode="relative" rAng="0" ptsTypes="AA">
                                      <p:cBhvr>
                                        <p:cTn id="12" dur="2000" fill="hold"/>
                                        <p:tgtEl>
                                          <p:spTgt spid="285"/>
                                        </p:tgtEl>
                                        <p:attrNameLst>
                                          <p:attrName>ppt_x</p:attrName>
                                          <p:attrName>ppt_y</p:attrName>
                                        </p:attrNameLst>
                                      </p:cBhvr>
                                      <p:rCtr x="0" y="-2591"/>
                                    </p:animMotion>
                                  </p:childTnLst>
                                </p:cTn>
                              </p:par>
                              <p:par>
                                <p:cTn id="13" presetID="42" presetClass="path" presetSubtype="0" accel="50000" decel="50000" fill="hold" grpId="0" nodeType="withEffect">
                                  <p:stCondLst>
                                    <p:cond delay="0"/>
                                  </p:stCondLst>
                                  <p:childTnLst>
                                    <p:animMotion origin="layout" path="M -2.38706E-6 -3.74364E-6 L 0.0008 -0.15293 " pathEditMode="relative" rAng="0" ptsTypes="AA">
                                      <p:cBhvr>
                                        <p:cTn id="14" dur="2000" fill="hold"/>
                                        <p:tgtEl>
                                          <p:spTgt spid="290"/>
                                        </p:tgtEl>
                                        <p:attrNameLst>
                                          <p:attrName>ppt_x</p:attrName>
                                          <p:attrName>ppt_y</p:attrName>
                                        </p:attrNameLst>
                                      </p:cBhvr>
                                      <p:rCtr x="32" y="-7658"/>
                                    </p:animMotion>
                                  </p:childTnLst>
                                </p:cTn>
                              </p:par>
                              <p:par>
                                <p:cTn id="15" presetID="42" presetClass="path" presetSubtype="0" accel="50000" decel="50000" fill="hold" grpId="0" nodeType="withEffect">
                                  <p:stCondLst>
                                    <p:cond delay="0"/>
                                  </p:stCondLst>
                                  <p:childTnLst>
                                    <p:animMotion origin="layout" path="M 2.14675E-6 4.2758E-6 L 2.14675E-6 -0.20639 " pathEditMode="relative" rAng="0" ptsTypes="AA">
                                      <p:cBhvr>
                                        <p:cTn id="16" dur="2000" fill="hold"/>
                                        <p:tgtEl>
                                          <p:spTgt spid="118"/>
                                        </p:tgtEl>
                                        <p:attrNameLst>
                                          <p:attrName>ppt_x</p:attrName>
                                          <p:attrName>ppt_y</p:attrName>
                                        </p:attrNameLst>
                                      </p:cBhvr>
                                      <p:rCtr x="0" y="-10319"/>
                                    </p:animMotion>
                                  </p:childTnLst>
                                </p:cTn>
                              </p:par>
                              <p:par>
                                <p:cTn id="17" presetID="42" presetClass="path" presetSubtype="0" accel="50000" decel="50000" fill="hold" grpId="0" nodeType="withEffect">
                                  <p:stCondLst>
                                    <p:cond delay="0"/>
                                  </p:stCondLst>
                                  <p:childTnLst>
                                    <p:animMotion origin="layout" path="M 1.89042E-7 7.58908E-7 L -0.00064 -0.15386 " pathEditMode="relative" rAng="0" ptsTypes="AA">
                                      <p:cBhvr>
                                        <p:cTn id="18" dur="2000" fill="hold"/>
                                        <p:tgtEl>
                                          <p:spTgt spid="86"/>
                                        </p:tgtEl>
                                        <p:attrNameLst>
                                          <p:attrName>ppt_x</p:attrName>
                                          <p:attrName>ppt_y</p:attrName>
                                        </p:attrNameLst>
                                      </p:cBhvr>
                                      <p:rCtr x="-32" y="-7705"/>
                                    </p:animMotion>
                                  </p:childTnLst>
                                </p:cTn>
                              </p:par>
                              <p:par>
                                <p:cTn id="19" presetID="42" presetClass="path" presetSubtype="0" accel="50000" decel="50000" fill="hold" grpId="0" nodeType="withEffect">
                                  <p:stCondLst>
                                    <p:cond delay="0"/>
                                  </p:stCondLst>
                                  <p:childTnLst>
                                    <p:animMotion origin="layout" path="M -1.4066E-6 3.84081E-6 L -1.4066E-6 -0.41162 " pathEditMode="relative" rAng="0" ptsTypes="AA">
                                      <p:cBhvr>
                                        <p:cTn id="20" dur="2000" fill="hold"/>
                                        <p:tgtEl>
                                          <p:spTgt spid="302"/>
                                        </p:tgtEl>
                                        <p:attrNameLst>
                                          <p:attrName>ppt_x</p:attrName>
                                          <p:attrName>ppt_y</p:attrName>
                                        </p:attrNameLst>
                                      </p:cBhvr>
                                      <p:rCtr x="0" y="-20592"/>
                                    </p:animMotion>
                                  </p:childTnLst>
                                </p:cTn>
                              </p:par>
                              <p:par>
                                <p:cTn id="21" presetID="42" presetClass="path" presetSubtype="0" accel="50000" decel="50000" fill="hold" grpId="0" nodeType="withEffect">
                                  <p:stCondLst>
                                    <p:cond delay="0"/>
                                  </p:stCondLst>
                                  <p:childTnLst>
                                    <p:animMotion origin="layout" path="M 2.51522E-6 -3.19297E-6 L 0.00128 -0.30796 " pathEditMode="relative" rAng="0" ptsTypes="AA">
                                      <p:cBhvr>
                                        <p:cTn id="22" dur="2000" fill="hold"/>
                                        <p:tgtEl>
                                          <p:spTgt spid="196"/>
                                        </p:tgtEl>
                                        <p:attrNameLst>
                                          <p:attrName>ppt_x</p:attrName>
                                          <p:attrName>ppt_y</p:attrName>
                                        </p:attrNameLst>
                                      </p:cBhvr>
                                      <p:rCtr x="64" y="-15410"/>
                                    </p:animMotion>
                                  </p:childTnLst>
                                </p:cTn>
                              </p:par>
                              <p:par>
                                <p:cTn id="23" presetID="42" presetClass="path" presetSubtype="0" accel="50000" decel="50000" fill="hold" grpId="0" nodeType="withEffect">
                                  <p:stCondLst>
                                    <p:cond delay="0"/>
                                  </p:stCondLst>
                                  <p:childTnLst>
                                    <p:animMotion origin="layout" path="M 4.67158E-6 5.41416E-7 L 4.67158E-6 -0.25729 " pathEditMode="relative" rAng="0" ptsTypes="AA">
                                      <p:cBhvr>
                                        <p:cTn id="24" dur="2000" fill="hold"/>
                                        <p:tgtEl>
                                          <p:spTgt spid="156"/>
                                        </p:tgtEl>
                                        <p:attrNameLst>
                                          <p:attrName>ppt_x</p:attrName>
                                          <p:attrName>ppt_y</p:attrName>
                                        </p:attrNameLst>
                                      </p:cBhvr>
                                      <p:rCtr x="0" y="-12864"/>
                                    </p:animMotion>
                                  </p:childTnLst>
                                </p:cTn>
                              </p:par>
                            </p:childTnLst>
                          </p:cTn>
                        </p:par>
                        <p:par>
                          <p:cTn id="25" fill="hold">
                            <p:stCondLst>
                              <p:cond delay="2000"/>
                            </p:stCondLst>
                            <p:childTnLst>
                              <p:par>
                                <p:cTn id="26" presetID="10" presetClass="exit" presetSubtype="0" fill="hold" grpId="1" nodeType="afterEffect">
                                  <p:stCondLst>
                                    <p:cond delay="0"/>
                                  </p:stCondLst>
                                  <p:childTnLst>
                                    <p:animEffect transition="out" filter="fade">
                                      <p:cBhvr>
                                        <p:cTn id="27" dur="500"/>
                                        <p:tgtEl>
                                          <p:spTgt spid="271"/>
                                        </p:tgtEl>
                                      </p:cBhvr>
                                    </p:animEffect>
                                    <p:set>
                                      <p:cBhvr>
                                        <p:cTn id="28" dur="1" fill="hold">
                                          <p:stCondLst>
                                            <p:cond delay="499"/>
                                          </p:stCondLst>
                                        </p:cTn>
                                        <p:tgtEl>
                                          <p:spTgt spid="271"/>
                                        </p:tgtEl>
                                        <p:attrNameLst>
                                          <p:attrName>style.visibility</p:attrName>
                                        </p:attrNameLst>
                                      </p:cBhvr>
                                      <p:to>
                                        <p:strVal val="hidden"/>
                                      </p:to>
                                    </p:set>
                                  </p:childTnLst>
                                </p:cTn>
                              </p:par>
                              <p:par>
                                <p:cTn id="29" presetID="10" presetClass="exit" presetSubtype="0" fill="hold" grpId="1" nodeType="withEffect">
                                  <p:stCondLst>
                                    <p:cond delay="0"/>
                                  </p:stCondLst>
                                  <p:childTnLst>
                                    <p:animEffect transition="out" filter="fade">
                                      <p:cBhvr>
                                        <p:cTn id="30" dur="500"/>
                                        <p:tgtEl>
                                          <p:spTgt spid="263"/>
                                        </p:tgtEl>
                                      </p:cBhvr>
                                    </p:animEffect>
                                    <p:set>
                                      <p:cBhvr>
                                        <p:cTn id="31" dur="1" fill="hold">
                                          <p:stCondLst>
                                            <p:cond delay="499"/>
                                          </p:stCondLst>
                                        </p:cTn>
                                        <p:tgtEl>
                                          <p:spTgt spid="263"/>
                                        </p:tgtEl>
                                        <p:attrNameLst>
                                          <p:attrName>style.visibility</p:attrName>
                                        </p:attrNameLst>
                                      </p:cBhvr>
                                      <p:to>
                                        <p:strVal val="hidden"/>
                                      </p:to>
                                    </p:set>
                                  </p:childTnLst>
                                </p:cTn>
                              </p:par>
                              <p:par>
                                <p:cTn id="32" presetID="10" presetClass="exit" presetSubtype="0" fill="hold" grpId="1" nodeType="withEffect">
                                  <p:stCondLst>
                                    <p:cond delay="0"/>
                                  </p:stCondLst>
                                  <p:childTnLst>
                                    <p:animEffect transition="out" filter="fade">
                                      <p:cBhvr>
                                        <p:cTn id="33" dur="500"/>
                                        <p:tgtEl>
                                          <p:spTgt spid="278"/>
                                        </p:tgtEl>
                                      </p:cBhvr>
                                    </p:animEffect>
                                    <p:set>
                                      <p:cBhvr>
                                        <p:cTn id="34" dur="1" fill="hold">
                                          <p:stCondLst>
                                            <p:cond delay="499"/>
                                          </p:stCondLst>
                                        </p:cTn>
                                        <p:tgtEl>
                                          <p:spTgt spid="278"/>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500"/>
                                        <p:tgtEl>
                                          <p:spTgt spid="285"/>
                                        </p:tgtEl>
                                      </p:cBhvr>
                                    </p:animEffect>
                                    <p:set>
                                      <p:cBhvr>
                                        <p:cTn id="37" dur="1" fill="hold">
                                          <p:stCondLst>
                                            <p:cond delay="499"/>
                                          </p:stCondLst>
                                        </p:cTn>
                                        <p:tgtEl>
                                          <p:spTgt spid="285"/>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500"/>
                                        <p:tgtEl>
                                          <p:spTgt spid="290"/>
                                        </p:tgtEl>
                                      </p:cBhvr>
                                    </p:animEffect>
                                    <p:set>
                                      <p:cBhvr>
                                        <p:cTn id="40" dur="1" fill="hold">
                                          <p:stCondLst>
                                            <p:cond delay="499"/>
                                          </p:stCondLst>
                                        </p:cTn>
                                        <p:tgtEl>
                                          <p:spTgt spid="290"/>
                                        </p:tgtEl>
                                        <p:attrNameLst>
                                          <p:attrName>style.visibility</p:attrName>
                                        </p:attrNameLst>
                                      </p:cBhvr>
                                      <p:to>
                                        <p:strVal val="hidden"/>
                                      </p:to>
                                    </p:set>
                                  </p:childTnLst>
                                </p:cTn>
                              </p:par>
                              <p:par>
                                <p:cTn id="41" presetID="10" presetClass="exit" presetSubtype="0" fill="hold" grpId="1" nodeType="withEffect">
                                  <p:stCondLst>
                                    <p:cond delay="0"/>
                                  </p:stCondLst>
                                  <p:childTnLst>
                                    <p:animEffect transition="out" filter="fade">
                                      <p:cBhvr>
                                        <p:cTn id="42" dur="500"/>
                                        <p:tgtEl>
                                          <p:spTgt spid="118"/>
                                        </p:tgtEl>
                                      </p:cBhvr>
                                    </p:animEffect>
                                    <p:set>
                                      <p:cBhvr>
                                        <p:cTn id="43" dur="1" fill="hold">
                                          <p:stCondLst>
                                            <p:cond delay="499"/>
                                          </p:stCondLst>
                                        </p:cTn>
                                        <p:tgtEl>
                                          <p:spTgt spid="118"/>
                                        </p:tgtEl>
                                        <p:attrNameLst>
                                          <p:attrName>style.visibility</p:attrName>
                                        </p:attrNameLst>
                                      </p:cBhvr>
                                      <p:to>
                                        <p:strVal val="hidden"/>
                                      </p:to>
                                    </p:set>
                                  </p:childTnLst>
                                </p:cTn>
                              </p:par>
                              <p:par>
                                <p:cTn id="44" presetID="10" presetClass="exit" presetSubtype="0" fill="hold" grpId="1" nodeType="withEffect">
                                  <p:stCondLst>
                                    <p:cond delay="0"/>
                                  </p:stCondLst>
                                  <p:childTnLst>
                                    <p:animEffect transition="out" filter="fade">
                                      <p:cBhvr>
                                        <p:cTn id="45" dur="500"/>
                                        <p:tgtEl>
                                          <p:spTgt spid="86"/>
                                        </p:tgtEl>
                                      </p:cBhvr>
                                    </p:animEffect>
                                    <p:set>
                                      <p:cBhvr>
                                        <p:cTn id="46" dur="1" fill="hold">
                                          <p:stCondLst>
                                            <p:cond delay="499"/>
                                          </p:stCondLst>
                                        </p:cTn>
                                        <p:tgtEl>
                                          <p:spTgt spid="86"/>
                                        </p:tgtEl>
                                        <p:attrNameLst>
                                          <p:attrName>style.visibility</p:attrName>
                                        </p:attrNameLst>
                                      </p:cBhvr>
                                      <p:to>
                                        <p:strVal val="hidden"/>
                                      </p:to>
                                    </p:set>
                                  </p:childTnLst>
                                </p:cTn>
                              </p:par>
                              <p:par>
                                <p:cTn id="47" presetID="10" presetClass="exit" presetSubtype="0" fill="hold" grpId="1" nodeType="withEffect">
                                  <p:stCondLst>
                                    <p:cond delay="0"/>
                                  </p:stCondLst>
                                  <p:childTnLst>
                                    <p:animEffect transition="out" filter="fade">
                                      <p:cBhvr>
                                        <p:cTn id="48" dur="500"/>
                                        <p:tgtEl>
                                          <p:spTgt spid="302"/>
                                        </p:tgtEl>
                                      </p:cBhvr>
                                    </p:animEffect>
                                    <p:set>
                                      <p:cBhvr>
                                        <p:cTn id="49" dur="1" fill="hold">
                                          <p:stCondLst>
                                            <p:cond delay="499"/>
                                          </p:stCondLst>
                                        </p:cTn>
                                        <p:tgtEl>
                                          <p:spTgt spid="302"/>
                                        </p:tgtEl>
                                        <p:attrNameLst>
                                          <p:attrName>style.visibility</p:attrName>
                                        </p:attrNameLst>
                                      </p:cBhvr>
                                      <p:to>
                                        <p:strVal val="hidden"/>
                                      </p:to>
                                    </p:set>
                                  </p:childTnLst>
                                </p:cTn>
                              </p:par>
                              <p:par>
                                <p:cTn id="50" presetID="10" presetClass="exit" presetSubtype="0" fill="hold" grpId="1" nodeType="withEffect">
                                  <p:stCondLst>
                                    <p:cond delay="0"/>
                                  </p:stCondLst>
                                  <p:childTnLst>
                                    <p:animEffect transition="out" filter="fade">
                                      <p:cBhvr>
                                        <p:cTn id="51" dur="500"/>
                                        <p:tgtEl>
                                          <p:spTgt spid="196"/>
                                        </p:tgtEl>
                                      </p:cBhvr>
                                    </p:animEffect>
                                    <p:set>
                                      <p:cBhvr>
                                        <p:cTn id="52" dur="1" fill="hold">
                                          <p:stCondLst>
                                            <p:cond delay="499"/>
                                          </p:stCondLst>
                                        </p:cTn>
                                        <p:tgtEl>
                                          <p:spTgt spid="196"/>
                                        </p:tgtEl>
                                        <p:attrNameLst>
                                          <p:attrName>style.visibility</p:attrName>
                                        </p:attrNameLst>
                                      </p:cBhvr>
                                      <p:to>
                                        <p:strVal val="hidden"/>
                                      </p:to>
                                    </p:set>
                                  </p:childTnLst>
                                </p:cTn>
                              </p:par>
                              <p:par>
                                <p:cTn id="53" presetID="10" presetClass="exit" presetSubtype="0" fill="hold" grpId="1" nodeType="withEffect">
                                  <p:stCondLst>
                                    <p:cond delay="0"/>
                                  </p:stCondLst>
                                  <p:childTnLst>
                                    <p:animEffect transition="out" filter="fade">
                                      <p:cBhvr>
                                        <p:cTn id="54" dur="500"/>
                                        <p:tgtEl>
                                          <p:spTgt spid="156"/>
                                        </p:tgtEl>
                                      </p:cBhvr>
                                    </p:animEffect>
                                    <p:set>
                                      <p:cBhvr>
                                        <p:cTn id="55" dur="1" fill="hold">
                                          <p:stCondLst>
                                            <p:cond delay="499"/>
                                          </p:stCondLst>
                                        </p:cTn>
                                        <p:tgtEl>
                                          <p:spTgt spid="156"/>
                                        </p:tgtEl>
                                        <p:attrNameLst>
                                          <p:attrName>style.visibility</p:attrName>
                                        </p:attrNameLst>
                                      </p:cBhvr>
                                      <p:to>
                                        <p:strVal val="hidden"/>
                                      </p:to>
                                    </p:set>
                                  </p:childTnLst>
                                </p:cTn>
                              </p:par>
                              <p:par>
                                <p:cTn id="56" presetID="10" presetClass="exit" presetSubtype="0" fill="hold" grpId="0" nodeType="withEffect">
                                  <p:stCondLst>
                                    <p:cond delay="0"/>
                                  </p:stCondLst>
                                  <p:childTnLst>
                                    <p:animEffect transition="out" filter="fade">
                                      <p:cBhvr>
                                        <p:cTn id="57" dur="500"/>
                                        <p:tgtEl>
                                          <p:spTgt spid="300"/>
                                        </p:tgtEl>
                                      </p:cBhvr>
                                    </p:animEffect>
                                    <p:set>
                                      <p:cBhvr>
                                        <p:cTn id="58" dur="1" fill="hold">
                                          <p:stCondLst>
                                            <p:cond delay="499"/>
                                          </p:stCondLst>
                                        </p:cTn>
                                        <p:tgtEl>
                                          <p:spTgt spid="300"/>
                                        </p:tgtEl>
                                        <p:attrNameLst>
                                          <p:attrName>style.visibility</p:attrName>
                                        </p:attrNameLst>
                                      </p:cBhvr>
                                      <p:to>
                                        <p:strVal val="hidden"/>
                                      </p:to>
                                    </p:set>
                                  </p:childTnLst>
                                </p:cTn>
                              </p:par>
                              <p:par>
                                <p:cTn id="59" presetID="10" presetClass="entr" presetSubtype="0" fill="hold" nodeType="withEffect">
                                  <p:stCondLst>
                                    <p:cond delay="0"/>
                                  </p:stCondLst>
                                  <p:childTnLst>
                                    <p:set>
                                      <p:cBhvr>
                                        <p:cTn id="60" dur="1" fill="hold">
                                          <p:stCondLst>
                                            <p:cond delay="0"/>
                                          </p:stCondLst>
                                        </p:cTn>
                                        <p:tgtEl>
                                          <p:spTgt spid="28"/>
                                        </p:tgtEl>
                                        <p:attrNameLst>
                                          <p:attrName>style.visibility</p:attrName>
                                        </p:attrNameLst>
                                      </p:cBhvr>
                                      <p:to>
                                        <p:strVal val="visible"/>
                                      </p:to>
                                    </p:set>
                                    <p:animEffect transition="in" filter="fade">
                                      <p:cBhvr>
                                        <p:cTn id="61" dur="500"/>
                                        <p:tgtEl>
                                          <p:spTgt spid="28"/>
                                        </p:tgtEl>
                                      </p:cBhvr>
                                    </p:animEffect>
                                  </p:childTnLst>
                                </p:cTn>
                              </p:par>
                              <p:par>
                                <p:cTn id="62" presetID="10" presetClass="exit" presetSubtype="0" fill="hold" grpId="0" nodeType="withEffect">
                                  <p:stCondLst>
                                    <p:cond delay="1000"/>
                                  </p:stCondLst>
                                  <p:childTnLst>
                                    <p:animEffect transition="out" filter="fade">
                                      <p:cBhvr>
                                        <p:cTn id="63" dur="500"/>
                                        <p:tgtEl>
                                          <p:spTgt spid="49"/>
                                        </p:tgtEl>
                                      </p:cBhvr>
                                    </p:animEffect>
                                    <p:set>
                                      <p:cBhvr>
                                        <p:cTn id="64" dur="1" fill="hold">
                                          <p:stCondLst>
                                            <p:cond delay="499"/>
                                          </p:stCondLst>
                                        </p:cTn>
                                        <p:tgtEl>
                                          <p:spTgt spid="49"/>
                                        </p:tgtEl>
                                        <p:attrNameLst>
                                          <p:attrName>style.visibility</p:attrName>
                                        </p:attrNameLst>
                                      </p:cBhvr>
                                      <p:to>
                                        <p:strVal val="hidden"/>
                                      </p:to>
                                    </p:set>
                                  </p:childTnLst>
                                </p:cTn>
                              </p:par>
                              <p:par>
                                <p:cTn id="65" presetID="10" presetClass="exit" presetSubtype="0" fill="hold" grpId="0" nodeType="withEffect">
                                  <p:stCondLst>
                                    <p:cond delay="1000"/>
                                  </p:stCondLst>
                                  <p:childTnLst>
                                    <p:animEffect transition="out" filter="fade">
                                      <p:cBhvr>
                                        <p:cTn id="66" dur="500"/>
                                        <p:tgtEl>
                                          <p:spTgt spid="283"/>
                                        </p:tgtEl>
                                      </p:cBhvr>
                                    </p:animEffect>
                                    <p:set>
                                      <p:cBhvr>
                                        <p:cTn id="67" dur="1" fill="hold">
                                          <p:stCondLst>
                                            <p:cond delay="499"/>
                                          </p:stCondLst>
                                        </p:cTn>
                                        <p:tgtEl>
                                          <p:spTgt spid="283"/>
                                        </p:tgtEl>
                                        <p:attrNameLst>
                                          <p:attrName>style.visibility</p:attrName>
                                        </p:attrNameLst>
                                      </p:cBhvr>
                                      <p:to>
                                        <p:strVal val="hidden"/>
                                      </p:to>
                                    </p:set>
                                  </p:childTnLst>
                                </p:cTn>
                              </p:par>
                              <p:par>
                                <p:cTn id="68" presetID="10" presetClass="exit" presetSubtype="0" fill="hold" grpId="0" nodeType="withEffect">
                                  <p:stCondLst>
                                    <p:cond delay="1000"/>
                                  </p:stCondLst>
                                  <p:childTnLst>
                                    <p:animEffect transition="out" filter="fade">
                                      <p:cBhvr>
                                        <p:cTn id="69" dur="500"/>
                                        <p:tgtEl>
                                          <p:spTgt spid="276"/>
                                        </p:tgtEl>
                                      </p:cBhvr>
                                    </p:animEffect>
                                    <p:set>
                                      <p:cBhvr>
                                        <p:cTn id="70" dur="1" fill="hold">
                                          <p:stCondLst>
                                            <p:cond delay="499"/>
                                          </p:stCondLst>
                                        </p:cTn>
                                        <p:tgtEl>
                                          <p:spTgt spid="276"/>
                                        </p:tgtEl>
                                        <p:attrNameLst>
                                          <p:attrName>style.visibility</p:attrName>
                                        </p:attrNameLst>
                                      </p:cBhvr>
                                      <p:to>
                                        <p:strVal val="hidden"/>
                                      </p:to>
                                    </p:set>
                                  </p:childTnLst>
                                </p:cTn>
                              </p:par>
                              <p:par>
                                <p:cTn id="71" presetID="10" presetClass="exit" presetSubtype="0" fill="hold" grpId="0" nodeType="withEffect">
                                  <p:stCondLst>
                                    <p:cond delay="1000"/>
                                  </p:stCondLst>
                                  <p:childTnLst>
                                    <p:animEffect transition="out" filter="fade">
                                      <p:cBhvr>
                                        <p:cTn id="72" dur="500"/>
                                        <p:tgtEl>
                                          <p:spTgt spid="261"/>
                                        </p:tgtEl>
                                      </p:cBhvr>
                                    </p:animEffect>
                                    <p:set>
                                      <p:cBhvr>
                                        <p:cTn id="73" dur="1" fill="hold">
                                          <p:stCondLst>
                                            <p:cond delay="499"/>
                                          </p:stCondLst>
                                        </p:cTn>
                                        <p:tgtEl>
                                          <p:spTgt spid="261"/>
                                        </p:tgtEl>
                                        <p:attrNameLst>
                                          <p:attrName>style.visibility</p:attrName>
                                        </p:attrNameLst>
                                      </p:cBhvr>
                                      <p:to>
                                        <p:strVal val="hidden"/>
                                      </p:to>
                                    </p:set>
                                  </p:childTnLst>
                                </p:cTn>
                              </p:par>
                              <p:par>
                                <p:cTn id="74" presetID="10" presetClass="exit" presetSubtype="0" fill="hold" grpId="0" nodeType="withEffect">
                                  <p:stCondLst>
                                    <p:cond delay="1000"/>
                                  </p:stCondLst>
                                  <p:childTnLst>
                                    <p:animEffect transition="out" filter="fade">
                                      <p:cBhvr>
                                        <p:cTn id="75" dur="500"/>
                                        <p:tgtEl>
                                          <p:spTgt spid="269"/>
                                        </p:tgtEl>
                                      </p:cBhvr>
                                    </p:animEffect>
                                    <p:set>
                                      <p:cBhvr>
                                        <p:cTn id="76" dur="1" fill="hold">
                                          <p:stCondLst>
                                            <p:cond delay="499"/>
                                          </p:stCondLst>
                                        </p:cTn>
                                        <p:tgtEl>
                                          <p:spTgt spid="269"/>
                                        </p:tgtEl>
                                        <p:attrNameLst>
                                          <p:attrName>style.visibility</p:attrName>
                                        </p:attrNameLst>
                                      </p:cBhvr>
                                      <p:to>
                                        <p:strVal val="hidden"/>
                                      </p:to>
                                    </p:set>
                                  </p:childTnLst>
                                </p:cTn>
                              </p:par>
                              <p:par>
                                <p:cTn id="77" presetID="10" presetClass="exit" presetSubtype="0" fill="hold" grpId="0" nodeType="withEffect">
                                  <p:stCondLst>
                                    <p:cond delay="1000"/>
                                  </p:stCondLst>
                                  <p:childTnLst>
                                    <p:animEffect transition="out" filter="fade">
                                      <p:cBhvr>
                                        <p:cTn id="78" dur="500"/>
                                        <p:tgtEl>
                                          <p:spTgt spid="114"/>
                                        </p:tgtEl>
                                      </p:cBhvr>
                                    </p:animEffect>
                                    <p:set>
                                      <p:cBhvr>
                                        <p:cTn id="79" dur="1" fill="hold">
                                          <p:stCondLst>
                                            <p:cond delay="499"/>
                                          </p:stCondLst>
                                        </p:cTn>
                                        <p:tgtEl>
                                          <p:spTgt spid="114"/>
                                        </p:tgtEl>
                                        <p:attrNameLst>
                                          <p:attrName>style.visibility</p:attrName>
                                        </p:attrNameLst>
                                      </p:cBhvr>
                                      <p:to>
                                        <p:strVal val="hidden"/>
                                      </p:to>
                                    </p:set>
                                  </p:childTnLst>
                                </p:cTn>
                              </p:par>
                              <p:par>
                                <p:cTn id="80" presetID="10" presetClass="exit" presetSubtype="0" fill="hold" grpId="0" nodeType="withEffect">
                                  <p:stCondLst>
                                    <p:cond delay="1000"/>
                                  </p:stCondLst>
                                  <p:childTnLst>
                                    <p:animEffect transition="out" filter="fade">
                                      <p:cBhvr>
                                        <p:cTn id="81" dur="500"/>
                                        <p:tgtEl>
                                          <p:spTgt spid="39"/>
                                        </p:tgtEl>
                                      </p:cBhvr>
                                    </p:animEffect>
                                    <p:set>
                                      <p:cBhvr>
                                        <p:cTn id="82" dur="1" fill="hold">
                                          <p:stCondLst>
                                            <p:cond delay="499"/>
                                          </p:stCondLst>
                                        </p:cTn>
                                        <p:tgtEl>
                                          <p:spTgt spid="39"/>
                                        </p:tgtEl>
                                        <p:attrNameLst>
                                          <p:attrName>style.visibility</p:attrName>
                                        </p:attrNameLst>
                                      </p:cBhvr>
                                      <p:to>
                                        <p:strVal val="hidden"/>
                                      </p:to>
                                    </p:set>
                                  </p:childTnLst>
                                </p:cTn>
                              </p:par>
                              <p:par>
                                <p:cTn id="83" presetID="10" presetClass="exit" presetSubtype="0" fill="hold" grpId="0" nodeType="withEffect">
                                  <p:stCondLst>
                                    <p:cond delay="1000"/>
                                  </p:stCondLst>
                                  <p:childTnLst>
                                    <p:animEffect transition="out" filter="fade">
                                      <p:cBhvr>
                                        <p:cTn id="84" dur="500"/>
                                        <p:tgtEl>
                                          <p:spTgt spid="291"/>
                                        </p:tgtEl>
                                      </p:cBhvr>
                                    </p:animEffect>
                                    <p:set>
                                      <p:cBhvr>
                                        <p:cTn id="85" dur="1" fill="hold">
                                          <p:stCondLst>
                                            <p:cond delay="499"/>
                                          </p:stCondLst>
                                        </p:cTn>
                                        <p:tgtEl>
                                          <p:spTgt spid="291"/>
                                        </p:tgtEl>
                                        <p:attrNameLst>
                                          <p:attrName>style.visibility</p:attrName>
                                        </p:attrNameLst>
                                      </p:cBhvr>
                                      <p:to>
                                        <p:strVal val="hidden"/>
                                      </p:to>
                                    </p:set>
                                  </p:childTnLst>
                                </p:cTn>
                              </p:par>
                              <p:par>
                                <p:cTn id="86" presetID="10" presetClass="exit" presetSubtype="0" fill="hold" grpId="0" nodeType="withEffect">
                                  <p:stCondLst>
                                    <p:cond delay="1000"/>
                                  </p:stCondLst>
                                  <p:childTnLst>
                                    <p:animEffect transition="out" filter="fade">
                                      <p:cBhvr>
                                        <p:cTn id="87" dur="500"/>
                                        <p:tgtEl>
                                          <p:spTgt spid="194"/>
                                        </p:tgtEl>
                                      </p:cBhvr>
                                    </p:animEffect>
                                    <p:set>
                                      <p:cBhvr>
                                        <p:cTn id="88" dur="1" fill="hold">
                                          <p:stCondLst>
                                            <p:cond delay="499"/>
                                          </p:stCondLst>
                                        </p:cTn>
                                        <p:tgtEl>
                                          <p:spTgt spid="194"/>
                                        </p:tgtEl>
                                        <p:attrNameLst>
                                          <p:attrName>style.visibility</p:attrName>
                                        </p:attrNameLst>
                                      </p:cBhvr>
                                      <p:to>
                                        <p:strVal val="hidden"/>
                                      </p:to>
                                    </p:set>
                                  </p:childTnLst>
                                </p:cTn>
                              </p:par>
                              <p:par>
                                <p:cTn id="89" presetID="10" presetClass="entr" presetSubtype="0" fill="hold" nodeType="withEffect">
                                  <p:stCondLst>
                                    <p:cond delay="1000"/>
                                  </p:stCondLst>
                                  <p:childTnLst>
                                    <p:set>
                                      <p:cBhvr>
                                        <p:cTn id="90" dur="1" fill="hold">
                                          <p:stCondLst>
                                            <p:cond delay="0"/>
                                          </p:stCondLst>
                                        </p:cTn>
                                        <p:tgtEl>
                                          <p:spTgt spid="216"/>
                                        </p:tgtEl>
                                        <p:attrNameLst>
                                          <p:attrName>style.visibility</p:attrName>
                                        </p:attrNameLst>
                                      </p:cBhvr>
                                      <p:to>
                                        <p:strVal val="visible"/>
                                      </p:to>
                                    </p:set>
                                    <p:animEffect transition="in" filter="fade">
                                      <p:cBhvr>
                                        <p:cTn id="91" dur="500"/>
                                        <p:tgtEl>
                                          <p:spTgt spid="2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1" grpId="0" animBg="1"/>
      <p:bldP spid="283" grpId="0" animBg="1"/>
      <p:bldP spid="276" grpId="0" animBg="1"/>
      <p:bldP spid="269" grpId="0" animBg="1"/>
      <p:bldP spid="261" grpId="0" animBg="1"/>
      <p:bldP spid="194" grpId="0" animBg="1"/>
      <p:bldP spid="39" grpId="0" animBg="1"/>
      <p:bldP spid="114" grpId="0" animBg="1"/>
      <p:bldP spid="49" grpId="0" animBg="1"/>
      <p:bldP spid="300" grpId="0" animBg="1"/>
      <p:bldP spid="290" grpId="0" animBg="1"/>
      <p:bldP spid="290" grpId="1" animBg="1"/>
      <p:bldP spid="285" grpId="0" animBg="1"/>
      <p:bldP spid="285" grpId="1" animBg="1"/>
      <p:bldP spid="278" grpId="0" animBg="1"/>
      <p:bldP spid="278" grpId="1" animBg="1"/>
      <p:bldP spid="271" grpId="0" animBg="1"/>
      <p:bldP spid="271" grpId="1" animBg="1"/>
      <p:bldP spid="263" grpId="0" animBg="1"/>
      <p:bldP spid="263" grpId="1" animBg="1"/>
      <p:bldP spid="196" grpId="0" animBg="1"/>
      <p:bldP spid="196" grpId="1" animBg="1"/>
      <p:bldP spid="86" grpId="0" animBg="1"/>
      <p:bldP spid="86" grpId="1" animBg="1"/>
      <p:bldP spid="156" grpId="0" animBg="1"/>
      <p:bldP spid="156" grpId="1" animBg="1"/>
      <p:bldP spid="302" grpId="0" animBg="1"/>
      <p:bldP spid="302" grpId="1" animBg="1"/>
      <p:bldP spid="118" grpId="0" animBg="1"/>
      <p:bldP spid="118"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hteck 37"/>
          <p:cNvSpPr/>
          <p:nvPr/>
        </p:nvSpPr>
        <p:spPr>
          <a:xfrm rot="5400000">
            <a:off x="3796981"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6" name="Rechteck 255"/>
          <p:cNvSpPr/>
          <p:nvPr/>
        </p:nvSpPr>
        <p:spPr>
          <a:xfrm rot="5400000">
            <a:off x="4471314" y="254018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9" name="Rechteck 258"/>
          <p:cNvSpPr/>
          <p:nvPr/>
        </p:nvSpPr>
        <p:spPr>
          <a:xfrm rot="5400000">
            <a:off x="2448526" y="307075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1" name="Rechteck 220"/>
          <p:cNvSpPr/>
          <p:nvPr/>
        </p:nvSpPr>
        <p:spPr>
          <a:xfrm rot="5400000">
            <a:off x="1781624" y="201218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3" name="Rechteck 222"/>
          <p:cNvSpPr/>
          <p:nvPr/>
        </p:nvSpPr>
        <p:spPr>
          <a:xfrm rot="5400000">
            <a:off x="2115651" y="1749348"/>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6" name="Rechteck 225"/>
          <p:cNvSpPr/>
          <p:nvPr/>
        </p:nvSpPr>
        <p:spPr>
          <a:xfrm rot="5400000">
            <a:off x="6152626"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7" name="Rechteck 226"/>
          <p:cNvSpPr/>
          <p:nvPr/>
        </p:nvSpPr>
        <p:spPr>
          <a:xfrm rot="5400000">
            <a:off x="6818030"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1" name="Rechteck 250"/>
          <p:cNvSpPr/>
          <p:nvPr/>
        </p:nvSpPr>
        <p:spPr>
          <a:xfrm rot="5400000">
            <a:off x="5482990"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2" name="Rechteck 251"/>
          <p:cNvSpPr/>
          <p:nvPr/>
        </p:nvSpPr>
        <p:spPr>
          <a:xfrm rot="5400000">
            <a:off x="4808974"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58" name="Rechteck 257"/>
          <p:cNvSpPr/>
          <p:nvPr/>
        </p:nvSpPr>
        <p:spPr>
          <a:xfrm rot="5400000">
            <a:off x="6482698" y="3598158"/>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 name="Freihandform 22"/>
          <p:cNvSpPr/>
          <p:nvPr/>
        </p:nvSpPr>
        <p:spPr>
          <a:xfrm>
            <a:off x="2927198" y="2471642"/>
            <a:ext cx="285719" cy="238537"/>
          </a:xfrm>
          <a:custGeom>
            <a:avLst/>
            <a:gdLst>
              <a:gd name="connsiteX0" fmla="*/ 171450 w 361950"/>
              <a:gd name="connsiteY0" fmla="*/ 0 h 409575"/>
              <a:gd name="connsiteX1" fmla="*/ 171450 w 361950"/>
              <a:gd name="connsiteY1" fmla="*/ 209550 h 409575"/>
              <a:gd name="connsiteX2" fmla="*/ 361950 w 361950"/>
              <a:gd name="connsiteY2" fmla="*/ 209550 h 409575"/>
              <a:gd name="connsiteX3" fmla="*/ 361950 w 361950"/>
              <a:gd name="connsiteY3" fmla="*/ 409575 h 409575"/>
              <a:gd name="connsiteX4" fmla="*/ 0 w 361950"/>
              <a:gd name="connsiteY4" fmla="*/ 409575 h 409575"/>
              <a:gd name="connsiteX5" fmla="*/ 0 w 361950"/>
              <a:gd name="connsiteY5" fmla="*/ 19050 h 409575"/>
              <a:gd name="connsiteX6" fmla="*/ 171450 w 361950"/>
              <a:gd name="connsiteY6" fmla="*/ 0 h 409575"/>
              <a:gd name="connsiteX0" fmla="*/ 171450 w 361950"/>
              <a:gd name="connsiteY0" fmla="*/ 0 h 409575"/>
              <a:gd name="connsiteX1" fmla="*/ 171450 w 361950"/>
              <a:gd name="connsiteY1" fmla="*/ 209550 h 409575"/>
              <a:gd name="connsiteX2" fmla="*/ 361950 w 361950"/>
              <a:gd name="connsiteY2" fmla="*/ 209550 h 409575"/>
              <a:gd name="connsiteX3" fmla="*/ 361950 w 361950"/>
              <a:gd name="connsiteY3" fmla="*/ 409575 h 409575"/>
              <a:gd name="connsiteX4" fmla="*/ 0 w 361950"/>
              <a:gd name="connsiteY4" fmla="*/ 409575 h 409575"/>
              <a:gd name="connsiteX5" fmla="*/ 2381 w 361950"/>
              <a:gd name="connsiteY5" fmla="*/ 2381 h 409575"/>
              <a:gd name="connsiteX6" fmla="*/ 171450 w 361950"/>
              <a:gd name="connsiteY6" fmla="*/ 0 h 409575"/>
              <a:gd name="connsiteX0" fmla="*/ 183356 w 361950"/>
              <a:gd name="connsiteY0" fmla="*/ 0 h 411956"/>
              <a:gd name="connsiteX1" fmla="*/ 171450 w 361950"/>
              <a:gd name="connsiteY1" fmla="*/ 211931 h 411956"/>
              <a:gd name="connsiteX2" fmla="*/ 361950 w 361950"/>
              <a:gd name="connsiteY2" fmla="*/ 211931 h 411956"/>
              <a:gd name="connsiteX3" fmla="*/ 361950 w 361950"/>
              <a:gd name="connsiteY3" fmla="*/ 411956 h 411956"/>
              <a:gd name="connsiteX4" fmla="*/ 0 w 361950"/>
              <a:gd name="connsiteY4" fmla="*/ 411956 h 411956"/>
              <a:gd name="connsiteX5" fmla="*/ 2381 w 361950"/>
              <a:gd name="connsiteY5" fmla="*/ 4762 h 411956"/>
              <a:gd name="connsiteX6" fmla="*/ 183356 w 361950"/>
              <a:gd name="connsiteY6" fmla="*/ 0 h 411956"/>
              <a:gd name="connsiteX0" fmla="*/ 183356 w 361950"/>
              <a:gd name="connsiteY0" fmla="*/ 0 h 411956"/>
              <a:gd name="connsiteX1" fmla="*/ 185737 w 361950"/>
              <a:gd name="connsiteY1" fmla="*/ 207169 h 411956"/>
              <a:gd name="connsiteX2" fmla="*/ 361950 w 361950"/>
              <a:gd name="connsiteY2" fmla="*/ 211931 h 411956"/>
              <a:gd name="connsiteX3" fmla="*/ 361950 w 361950"/>
              <a:gd name="connsiteY3" fmla="*/ 411956 h 411956"/>
              <a:gd name="connsiteX4" fmla="*/ 0 w 361950"/>
              <a:gd name="connsiteY4" fmla="*/ 411956 h 411956"/>
              <a:gd name="connsiteX5" fmla="*/ 2381 w 361950"/>
              <a:gd name="connsiteY5" fmla="*/ 4762 h 411956"/>
              <a:gd name="connsiteX6" fmla="*/ 183356 w 361950"/>
              <a:gd name="connsiteY6" fmla="*/ 0 h 411956"/>
              <a:gd name="connsiteX0" fmla="*/ 183356 w 366712"/>
              <a:gd name="connsiteY0" fmla="*/ 0 h 411956"/>
              <a:gd name="connsiteX1" fmla="*/ 185737 w 366712"/>
              <a:gd name="connsiteY1" fmla="*/ 207169 h 411956"/>
              <a:gd name="connsiteX2" fmla="*/ 366712 w 366712"/>
              <a:gd name="connsiteY2" fmla="*/ 204787 h 411956"/>
              <a:gd name="connsiteX3" fmla="*/ 361950 w 366712"/>
              <a:gd name="connsiteY3" fmla="*/ 411956 h 411956"/>
              <a:gd name="connsiteX4" fmla="*/ 0 w 366712"/>
              <a:gd name="connsiteY4" fmla="*/ 411956 h 411956"/>
              <a:gd name="connsiteX5" fmla="*/ 2381 w 366712"/>
              <a:gd name="connsiteY5" fmla="*/ 4762 h 411956"/>
              <a:gd name="connsiteX6" fmla="*/ 183356 w 366712"/>
              <a:gd name="connsiteY6" fmla="*/ 0 h 411956"/>
              <a:gd name="connsiteX0" fmla="*/ 183356 w 366712"/>
              <a:gd name="connsiteY0" fmla="*/ 0 h 411956"/>
              <a:gd name="connsiteX1" fmla="*/ 185737 w 366712"/>
              <a:gd name="connsiteY1" fmla="*/ 207169 h 411956"/>
              <a:gd name="connsiteX2" fmla="*/ 366712 w 366712"/>
              <a:gd name="connsiteY2" fmla="*/ 211931 h 411956"/>
              <a:gd name="connsiteX3" fmla="*/ 361950 w 366712"/>
              <a:gd name="connsiteY3" fmla="*/ 411956 h 411956"/>
              <a:gd name="connsiteX4" fmla="*/ 0 w 366712"/>
              <a:gd name="connsiteY4" fmla="*/ 411956 h 411956"/>
              <a:gd name="connsiteX5" fmla="*/ 2381 w 366712"/>
              <a:gd name="connsiteY5" fmla="*/ 4762 h 411956"/>
              <a:gd name="connsiteX6" fmla="*/ 183356 w 366712"/>
              <a:gd name="connsiteY6" fmla="*/ 0 h 411956"/>
              <a:gd name="connsiteX0" fmla="*/ 183356 w 364331"/>
              <a:gd name="connsiteY0" fmla="*/ 0 h 411956"/>
              <a:gd name="connsiteX1" fmla="*/ 185737 w 364331"/>
              <a:gd name="connsiteY1" fmla="*/ 207169 h 411956"/>
              <a:gd name="connsiteX2" fmla="*/ 364331 w 364331"/>
              <a:gd name="connsiteY2" fmla="*/ 214312 h 411956"/>
              <a:gd name="connsiteX3" fmla="*/ 361950 w 364331"/>
              <a:gd name="connsiteY3" fmla="*/ 411956 h 411956"/>
              <a:gd name="connsiteX4" fmla="*/ 0 w 364331"/>
              <a:gd name="connsiteY4" fmla="*/ 411956 h 411956"/>
              <a:gd name="connsiteX5" fmla="*/ 2381 w 364331"/>
              <a:gd name="connsiteY5" fmla="*/ 4762 h 411956"/>
              <a:gd name="connsiteX6" fmla="*/ 183356 w 364331"/>
              <a:gd name="connsiteY6" fmla="*/ 0 h 411956"/>
              <a:gd name="connsiteX0" fmla="*/ 183356 w 364331"/>
              <a:gd name="connsiteY0" fmla="*/ 0 h 411956"/>
              <a:gd name="connsiteX1" fmla="*/ 79412 w 364331"/>
              <a:gd name="connsiteY1" fmla="*/ 313494 h 411956"/>
              <a:gd name="connsiteX2" fmla="*/ 364331 w 364331"/>
              <a:gd name="connsiteY2" fmla="*/ 214312 h 411956"/>
              <a:gd name="connsiteX3" fmla="*/ 361950 w 364331"/>
              <a:gd name="connsiteY3" fmla="*/ 411956 h 411956"/>
              <a:gd name="connsiteX4" fmla="*/ 0 w 364331"/>
              <a:gd name="connsiteY4" fmla="*/ 411956 h 411956"/>
              <a:gd name="connsiteX5" fmla="*/ 2381 w 364331"/>
              <a:gd name="connsiteY5" fmla="*/ 4762 h 411956"/>
              <a:gd name="connsiteX6" fmla="*/ 183356 w 364331"/>
              <a:gd name="connsiteY6" fmla="*/ 0 h 411956"/>
              <a:gd name="connsiteX0" fmla="*/ 91207 w 364331"/>
              <a:gd name="connsiteY0" fmla="*/ 0 h 411956"/>
              <a:gd name="connsiteX1" fmla="*/ 79412 w 364331"/>
              <a:gd name="connsiteY1" fmla="*/ 313494 h 411956"/>
              <a:gd name="connsiteX2" fmla="*/ 364331 w 364331"/>
              <a:gd name="connsiteY2" fmla="*/ 214312 h 411956"/>
              <a:gd name="connsiteX3" fmla="*/ 361950 w 364331"/>
              <a:gd name="connsiteY3" fmla="*/ 411956 h 411956"/>
              <a:gd name="connsiteX4" fmla="*/ 0 w 364331"/>
              <a:gd name="connsiteY4" fmla="*/ 411956 h 411956"/>
              <a:gd name="connsiteX5" fmla="*/ 2381 w 364331"/>
              <a:gd name="connsiteY5" fmla="*/ 4762 h 411956"/>
              <a:gd name="connsiteX6" fmla="*/ 91207 w 364331"/>
              <a:gd name="connsiteY6" fmla="*/ 0 h 411956"/>
              <a:gd name="connsiteX0" fmla="*/ 91207 w 364331"/>
              <a:gd name="connsiteY0" fmla="*/ 0 h 411956"/>
              <a:gd name="connsiteX1" fmla="*/ 79412 w 364331"/>
              <a:gd name="connsiteY1" fmla="*/ 313494 h 411956"/>
              <a:gd name="connsiteX2" fmla="*/ 364331 w 364331"/>
              <a:gd name="connsiteY2" fmla="*/ 299372 h 411956"/>
              <a:gd name="connsiteX3" fmla="*/ 361950 w 364331"/>
              <a:gd name="connsiteY3" fmla="*/ 411956 h 411956"/>
              <a:gd name="connsiteX4" fmla="*/ 0 w 364331"/>
              <a:gd name="connsiteY4" fmla="*/ 411956 h 411956"/>
              <a:gd name="connsiteX5" fmla="*/ 2381 w 364331"/>
              <a:gd name="connsiteY5" fmla="*/ 4762 h 411956"/>
              <a:gd name="connsiteX6" fmla="*/ 91207 w 364331"/>
              <a:gd name="connsiteY6" fmla="*/ 0 h 411956"/>
              <a:gd name="connsiteX0" fmla="*/ 91207 w 364331"/>
              <a:gd name="connsiteY0" fmla="*/ 0 h 411956"/>
              <a:gd name="connsiteX1" fmla="*/ 93589 w 364331"/>
              <a:gd name="connsiteY1" fmla="*/ 313494 h 411956"/>
              <a:gd name="connsiteX2" fmla="*/ 364331 w 364331"/>
              <a:gd name="connsiteY2" fmla="*/ 299372 h 411956"/>
              <a:gd name="connsiteX3" fmla="*/ 361950 w 364331"/>
              <a:gd name="connsiteY3" fmla="*/ 411956 h 411956"/>
              <a:gd name="connsiteX4" fmla="*/ 0 w 364331"/>
              <a:gd name="connsiteY4" fmla="*/ 411956 h 411956"/>
              <a:gd name="connsiteX5" fmla="*/ 2381 w 364331"/>
              <a:gd name="connsiteY5" fmla="*/ 4762 h 411956"/>
              <a:gd name="connsiteX6" fmla="*/ 91207 w 364331"/>
              <a:gd name="connsiteY6" fmla="*/ 0 h 41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4331" h="411956">
                <a:moveTo>
                  <a:pt x="91207" y="0"/>
                </a:moveTo>
                <a:cubicBezTo>
                  <a:pt x="92001" y="69056"/>
                  <a:pt x="92795" y="244438"/>
                  <a:pt x="93589" y="313494"/>
                </a:cubicBezTo>
                <a:lnTo>
                  <a:pt x="364331" y="299372"/>
                </a:lnTo>
                <a:cubicBezTo>
                  <a:pt x="363537" y="365253"/>
                  <a:pt x="362744" y="346075"/>
                  <a:pt x="361950" y="411956"/>
                </a:cubicBezTo>
                <a:lnTo>
                  <a:pt x="0" y="411956"/>
                </a:lnTo>
                <a:cubicBezTo>
                  <a:pt x="794" y="276225"/>
                  <a:pt x="1587" y="140493"/>
                  <a:pt x="2381" y="4762"/>
                </a:cubicBezTo>
                <a:lnTo>
                  <a:pt x="91207" y="0"/>
                </a:lnTo>
                <a:close/>
              </a:path>
            </a:pathLst>
          </a:cu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9" name="Rechteck 18"/>
          <p:cNvSpPr/>
          <p:nvPr/>
        </p:nvSpPr>
        <p:spPr>
          <a:xfrm rot="5400000">
            <a:off x="1779513" y="2542218"/>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6" name="Rechteck 35"/>
          <p:cNvSpPr/>
          <p:nvPr/>
        </p:nvSpPr>
        <p:spPr>
          <a:xfrm rot="5400000">
            <a:off x="2452003"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7" name="Rechteck 36"/>
          <p:cNvSpPr/>
          <p:nvPr/>
        </p:nvSpPr>
        <p:spPr>
          <a:xfrm rot="5400000">
            <a:off x="3124491"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0" name="Rechteck 39"/>
          <p:cNvSpPr/>
          <p:nvPr/>
        </p:nvSpPr>
        <p:spPr>
          <a:xfrm rot="5400000">
            <a:off x="5141962" y="254264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1" name="Rechteck 40"/>
          <p:cNvSpPr/>
          <p:nvPr/>
        </p:nvSpPr>
        <p:spPr>
          <a:xfrm rot="5400000">
            <a:off x="5814453" y="2543069"/>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2" name="Rechteck 41"/>
          <p:cNvSpPr/>
          <p:nvPr/>
        </p:nvSpPr>
        <p:spPr>
          <a:xfrm rot="5400000">
            <a:off x="2115651" y="2807464"/>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3" name="Rechteck 42"/>
          <p:cNvSpPr/>
          <p:nvPr/>
        </p:nvSpPr>
        <p:spPr>
          <a:xfrm rot="5400000">
            <a:off x="2788141"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6" name="Rechteck 45"/>
          <p:cNvSpPr/>
          <p:nvPr/>
        </p:nvSpPr>
        <p:spPr>
          <a:xfrm rot="5400000">
            <a:off x="3460631"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7" name="Rechteck 46"/>
          <p:cNvSpPr/>
          <p:nvPr/>
        </p:nvSpPr>
        <p:spPr>
          <a:xfrm rot="5400000">
            <a:off x="4133122"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8" name="Rechteck 47"/>
          <p:cNvSpPr/>
          <p:nvPr/>
        </p:nvSpPr>
        <p:spPr>
          <a:xfrm rot="5400000">
            <a:off x="4805614" y="280789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3" name="Rechteck 52"/>
          <p:cNvSpPr/>
          <p:nvPr/>
        </p:nvSpPr>
        <p:spPr>
          <a:xfrm rot="5400000">
            <a:off x="1779513" y="3070750"/>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5" name="Rechteck 54"/>
          <p:cNvSpPr/>
          <p:nvPr/>
        </p:nvSpPr>
        <p:spPr>
          <a:xfrm rot="5400000">
            <a:off x="312449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6" name="Rechteck 65"/>
          <p:cNvSpPr/>
          <p:nvPr/>
        </p:nvSpPr>
        <p:spPr>
          <a:xfrm rot="5400000">
            <a:off x="379698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7" name="Rechteck 66"/>
          <p:cNvSpPr/>
          <p:nvPr/>
        </p:nvSpPr>
        <p:spPr>
          <a:xfrm rot="5400000">
            <a:off x="4469471"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8" name="Rechteck 67"/>
          <p:cNvSpPr/>
          <p:nvPr/>
        </p:nvSpPr>
        <p:spPr>
          <a:xfrm rot="5400000">
            <a:off x="5141962" y="3071175"/>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9" name="Rechteck 68"/>
          <p:cNvSpPr/>
          <p:nvPr/>
        </p:nvSpPr>
        <p:spPr>
          <a:xfrm rot="5400000">
            <a:off x="5814453" y="30716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0" name="Rechteck 69"/>
          <p:cNvSpPr/>
          <p:nvPr/>
        </p:nvSpPr>
        <p:spPr>
          <a:xfrm rot="5400000">
            <a:off x="2115651" y="33359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1" name="Rechteck 70"/>
          <p:cNvSpPr/>
          <p:nvPr/>
        </p:nvSpPr>
        <p:spPr>
          <a:xfrm rot="5400000">
            <a:off x="2788141"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2" name="Rechteck 71"/>
          <p:cNvSpPr/>
          <p:nvPr/>
        </p:nvSpPr>
        <p:spPr>
          <a:xfrm rot="5400000">
            <a:off x="3460631"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3" name="Rechteck 72"/>
          <p:cNvSpPr/>
          <p:nvPr/>
        </p:nvSpPr>
        <p:spPr>
          <a:xfrm rot="5400000">
            <a:off x="4133122"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4" name="Rechteck 73"/>
          <p:cNvSpPr/>
          <p:nvPr/>
        </p:nvSpPr>
        <p:spPr>
          <a:xfrm rot="5400000">
            <a:off x="4805614"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5" name="Rechteck 74"/>
          <p:cNvSpPr/>
          <p:nvPr/>
        </p:nvSpPr>
        <p:spPr>
          <a:xfrm rot="5400000">
            <a:off x="5478104"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9" name="Rechteck 78"/>
          <p:cNvSpPr/>
          <p:nvPr/>
        </p:nvSpPr>
        <p:spPr>
          <a:xfrm rot="5400000">
            <a:off x="2452003"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0" name="Rechteck 79"/>
          <p:cNvSpPr/>
          <p:nvPr/>
        </p:nvSpPr>
        <p:spPr>
          <a:xfrm rot="5400000">
            <a:off x="312449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1" name="Rechteck 80"/>
          <p:cNvSpPr/>
          <p:nvPr/>
        </p:nvSpPr>
        <p:spPr>
          <a:xfrm rot="5400000">
            <a:off x="379698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2" name="Rechteck 81"/>
          <p:cNvSpPr/>
          <p:nvPr/>
        </p:nvSpPr>
        <p:spPr>
          <a:xfrm rot="5400000">
            <a:off x="4469471"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3" name="Rechteck 82"/>
          <p:cNvSpPr/>
          <p:nvPr/>
        </p:nvSpPr>
        <p:spPr>
          <a:xfrm rot="5400000">
            <a:off x="5141962" y="20122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4" name="Rechteck 83"/>
          <p:cNvSpPr/>
          <p:nvPr/>
        </p:nvSpPr>
        <p:spPr>
          <a:xfrm rot="5400000">
            <a:off x="5814453" y="20127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5" name="Rechteck 84"/>
          <p:cNvSpPr/>
          <p:nvPr/>
        </p:nvSpPr>
        <p:spPr>
          <a:xfrm rot="5400000">
            <a:off x="2115651" y="22770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6" name="Rechteck 85"/>
          <p:cNvSpPr/>
          <p:nvPr/>
        </p:nvSpPr>
        <p:spPr>
          <a:xfrm rot="5400000">
            <a:off x="2956318" y="2445696"/>
            <a:ext cx="232456" cy="287692"/>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7" name="Rechteck 86"/>
          <p:cNvSpPr/>
          <p:nvPr/>
        </p:nvSpPr>
        <p:spPr>
          <a:xfrm rot="5400000">
            <a:off x="3460631"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88" name="Rechteck 87"/>
          <p:cNvSpPr/>
          <p:nvPr/>
        </p:nvSpPr>
        <p:spPr>
          <a:xfrm rot="5400000">
            <a:off x="4133122"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0" name="Rechteck 89"/>
          <p:cNvSpPr/>
          <p:nvPr/>
        </p:nvSpPr>
        <p:spPr>
          <a:xfrm rot="5400000">
            <a:off x="5478104"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5" name="Rechteck 94"/>
          <p:cNvSpPr/>
          <p:nvPr/>
        </p:nvSpPr>
        <p:spPr>
          <a:xfrm rot="5400000">
            <a:off x="1612399" y="2975428"/>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6" name="Rechteck 95"/>
          <p:cNvSpPr/>
          <p:nvPr/>
        </p:nvSpPr>
        <p:spPr>
          <a:xfrm rot="5400000">
            <a:off x="1612399" y="244593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7" name="Rechteck 96"/>
          <p:cNvSpPr/>
          <p:nvPr/>
        </p:nvSpPr>
        <p:spPr>
          <a:xfrm rot="5400000">
            <a:off x="1612399" y="3503960"/>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6" name="Rechteck 105"/>
          <p:cNvSpPr/>
          <p:nvPr/>
        </p:nvSpPr>
        <p:spPr>
          <a:xfrm rot="5400000">
            <a:off x="2788141"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7" name="Rechteck 106"/>
          <p:cNvSpPr/>
          <p:nvPr/>
        </p:nvSpPr>
        <p:spPr>
          <a:xfrm rot="5400000">
            <a:off x="3460631"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8" name="Rechteck 107"/>
          <p:cNvSpPr/>
          <p:nvPr/>
        </p:nvSpPr>
        <p:spPr>
          <a:xfrm rot="5400000">
            <a:off x="4133122"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09" name="Rechteck 108"/>
          <p:cNvSpPr/>
          <p:nvPr/>
        </p:nvSpPr>
        <p:spPr>
          <a:xfrm rot="5400000">
            <a:off x="4805614"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0" name="Rechteck 109"/>
          <p:cNvSpPr/>
          <p:nvPr/>
        </p:nvSpPr>
        <p:spPr>
          <a:xfrm rot="5400000">
            <a:off x="5478104" y="174805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3" name="Rechteck 112"/>
          <p:cNvSpPr/>
          <p:nvPr/>
        </p:nvSpPr>
        <p:spPr>
          <a:xfrm rot="5400000">
            <a:off x="1612399" y="191646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14" name="Rechteck 113"/>
          <p:cNvSpPr/>
          <p:nvPr/>
        </p:nvSpPr>
        <p:spPr>
          <a:xfrm rot="5400000">
            <a:off x="2620175" y="2445696"/>
            <a:ext cx="232456" cy="28769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cxnSp>
        <p:nvCxnSpPr>
          <p:cNvPr id="14" name="Gerade Verbindung 13"/>
          <p:cNvCxnSpPr/>
          <p:nvPr/>
        </p:nvCxnSpPr>
        <p:spPr>
          <a:xfrm flipV="1">
            <a:off x="2928699" y="2648475"/>
            <a:ext cx="72078" cy="56873"/>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flipH="1" flipV="1">
            <a:off x="3000776" y="2473317"/>
            <a:ext cx="312" cy="175159"/>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flipV="1">
            <a:off x="3000779" y="2648476"/>
            <a:ext cx="215613" cy="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28" name="Rechteck 227"/>
          <p:cNvSpPr/>
          <p:nvPr/>
        </p:nvSpPr>
        <p:spPr>
          <a:xfrm rot="5400000">
            <a:off x="1774810" y="359864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9" name="Rechteck 228"/>
          <p:cNvSpPr/>
          <p:nvPr/>
        </p:nvSpPr>
        <p:spPr>
          <a:xfrm rot="5400000">
            <a:off x="244730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0" name="Rechteck 229"/>
          <p:cNvSpPr/>
          <p:nvPr/>
        </p:nvSpPr>
        <p:spPr>
          <a:xfrm rot="5400000">
            <a:off x="311979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1" name="Rechteck 230"/>
          <p:cNvSpPr/>
          <p:nvPr/>
        </p:nvSpPr>
        <p:spPr>
          <a:xfrm rot="5400000">
            <a:off x="3792282"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2" name="Rechteck 231"/>
          <p:cNvSpPr/>
          <p:nvPr/>
        </p:nvSpPr>
        <p:spPr>
          <a:xfrm rot="5400000">
            <a:off x="4464770"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3" name="Rechteck 232"/>
          <p:cNvSpPr/>
          <p:nvPr/>
        </p:nvSpPr>
        <p:spPr>
          <a:xfrm rot="5400000">
            <a:off x="5137260" y="359907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4" name="Rechteck 233"/>
          <p:cNvSpPr/>
          <p:nvPr/>
        </p:nvSpPr>
        <p:spPr>
          <a:xfrm rot="5400000">
            <a:off x="5809750" y="359949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5" name="Rechteck 234"/>
          <p:cNvSpPr/>
          <p:nvPr/>
        </p:nvSpPr>
        <p:spPr>
          <a:xfrm rot="5400000">
            <a:off x="2110952" y="386389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6" name="Rechteck 235"/>
          <p:cNvSpPr/>
          <p:nvPr/>
        </p:nvSpPr>
        <p:spPr>
          <a:xfrm rot="5400000">
            <a:off x="278344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7" name="Rechteck 236"/>
          <p:cNvSpPr/>
          <p:nvPr/>
        </p:nvSpPr>
        <p:spPr>
          <a:xfrm rot="5400000">
            <a:off x="345593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8" name="Rechteck 237"/>
          <p:cNvSpPr/>
          <p:nvPr/>
        </p:nvSpPr>
        <p:spPr>
          <a:xfrm rot="5400000">
            <a:off x="412842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39" name="Rechteck 238"/>
          <p:cNvSpPr/>
          <p:nvPr/>
        </p:nvSpPr>
        <p:spPr>
          <a:xfrm rot="5400000">
            <a:off x="4800910"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0" name="Rechteck 239"/>
          <p:cNvSpPr/>
          <p:nvPr/>
        </p:nvSpPr>
        <p:spPr>
          <a:xfrm rot="5400000">
            <a:off x="5473402"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3" name="Rechteck 242"/>
          <p:cNvSpPr/>
          <p:nvPr/>
        </p:nvSpPr>
        <p:spPr>
          <a:xfrm rot="5400000">
            <a:off x="1607698" y="4027412"/>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grpSp>
        <p:nvGrpSpPr>
          <p:cNvPr id="4" name="Gruppieren 3"/>
          <p:cNvGrpSpPr/>
          <p:nvPr/>
        </p:nvGrpSpPr>
        <p:grpSpPr>
          <a:xfrm>
            <a:off x="1583718" y="1679026"/>
            <a:ext cx="5662560" cy="232457"/>
            <a:chOff x="1715694" y="2238699"/>
            <a:chExt cx="6134440" cy="309942"/>
          </a:xfrm>
        </p:grpSpPr>
        <p:sp>
          <p:nvSpPr>
            <p:cNvPr id="98" name="Rechteck 97"/>
            <p:cNvSpPr/>
            <p:nvPr/>
          </p:nvSpPr>
          <p:spPr>
            <a:xfrm rot="5400000">
              <a:off x="1898746" y="205564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99" name="Rechteck 98"/>
            <p:cNvSpPr/>
            <p:nvPr/>
          </p:nvSpPr>
          <p:spPr>
            <a:xfrm rot="5400000">
              <a:off x="2627277" y="205564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00" name="Rechteck 99"/>
            <p:cNvSpPr/>
            <p:nvPr/>
          </p:nvSpPr>
          <p:spPr>
            <a:xfrm rot="5400000">
              <a:off x="3355808" y="205564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01" name="Rechteck 100"/>
            <p:cNvSpPr/>
            <p:nvPr/>
          </p:nvSpPr>
          <p:spPr>
            <a:xfrm rot="5400000">
              <a:off x="4084339" y="205564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02" name="Rechteck 101"/>
            <p:cNvSpPr/>
            <p:nvPr/>
          </p:nvSpPr>
          <p:spPr>
            <a:xfrm rot="5400000">
              <a:off x="4812870" y="205564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03" name="Rechteck 102"/>
            <p:cNvSpPr/>
            <p:nvPr/>
          </p:nvSpPr>
          <p:spPr>
            <a:xfrm rot="5400000">
              <a:off x="5541401" y="205564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04" name="Rechteck 103"/>
            <p:cNvSpPr/>
            <p:nvPr/>
          </p:nvSpPr>
          <p:spPr>
            <a:xfrm rot="5400000">
              <a:off x="6269931" y="205564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12" name="Rechteck 111"/>
            <p:cNvSpPr/>
            <p:nvPr/>
          </p:nvSpPr>
          <p:spPr>
            <a:xfrm rot="5400000">
              <a:off x="7538180" y="2236687"/>
              <a:ext cx="309941" cy="313966"/>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250" name="Rechteck 249"/>
            <p:cNvSpPr/>
            <p:nvPr/>
          </p:nvSpPr>
          <p:spPr>
            <a:xfrm rot="5400000">
              <a:off x="6996280" y="2055648"/>
              <a:ext cx="309941" cy="67604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sp>
        <p:nvSpPr>
          <p:cNvPr id="253" name="Rechteck 252"/>
          <p:cNvSpPr/>
          <p:nvPr/>
        </p:nvSpPr>
        <p:spPr>
          <a:xfrm rot="5400000">
            <a:off x="6143878" y="386431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2" name="Rechteck 51"/>
          <p:cNvSpPr/>
          <p:nvPr/>
        </p:nvSpPr>
        <p:spPr>
          <a:xfrm rot="5400000">
            <a:off x="6818029" y="2807444"/>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7" name="Rechteck 76"/>
          <p:cNvSpPr/>
          <p:nvPr/>
        </p:nvSpPr>
        <p:spPr>
          <a:xfrm rot="5400000">
            <a:off x="6818029" y="333597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1" name="Rechteck 90"/>
          <p:cNvSpPr/>
          <p:nvPr/>
        </p:nvSpPr>
        <p:spPr>
          <a:xfrm rot="5400000">
            <a:off x="6818029" y="2277077"/>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2" name="Rechteck 91"/>
          <p:cNvSpPr/>
          <p:nvPr/>
        </p:nvSpPr>
        <p:spPr>
          <a:xfrm rot="5400000">
            <a:off x="6985142" y="2709311"/>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3" name="Rechteck 92"/>
          <p:cNvSpPr/>
          <p:nvPr/>
        </p:nvSpPr>
        <p:spPr>
          <a:xfrm rot="5400000">
            <a:off x="6985142" y="2179814"/>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94" name="Rechteck 93"/>
          <p:cNvSpPr/>
          <p:nvPr/>
        </p:nvSpPr>
        <p:spPr>
          <a:xfrm rot="5400000">
            <a:off x="6985142" y="3237845"/>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1" name="Rechteck 240"/>
          <p:cNvSpPr/>
          <p:nvPr/>
        </p:nvSpPr>
        <p:spPr>
          <a:xfrm rot="5400000">
            <a:off x="6813330" y="3863873"/>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2" name="Rechteck 241"/>
          <p:cNvSpPr/>
          <p:nvPr/>
        </p:nvSpPr>
        <p:spPr>
          <a:xfrm rot="5400000">
            <a:off x="6980443" y="3766610"/>
            <a:ext cx="232456" cy="289815"/>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4" name="Rechteck 243"/>
          <p:cNvSpPr/>
          <p:nvPr/>
        </p:nvSpPr>
        <p:spPr>
          <a:xfrm rot="5400000">
            <a:off x="6484929" y="2543069"/>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5" name="Rechteck 244"/>
          <p:cNvSpPr/>
          <p:nvPr/>
        </p:nvSpPr>
        <p:spPr>
          <a:xfrm rot="5400000">
            <a:off x="6156129" y="2806882"/>
            <a:ext cx="232456" cy="626057"/>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6" name="Rechteck 245"/>
          <p:cNvSpPr/>
          <p:nvPr/>
        </p:nvSpPr>
        <p:spPr>
          <a:xfrm rot="5400000">
            <a:off x="6484929" y="30716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7" name="Rechteck 246"/>
          <p:cNvSpPr/>
          <p:nvPr/>
        </p:nvSpPr>
        <p:spPr>
          <a:xfrm rot="5400000">
            <a:off x="6148580" y="33364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8" name="Rechteck 247"/>
          <p:cNvSpPr/>
          <p:nvPr/>
        </p:nvSpPr>
        <p:spPr>
          <a:xfrm rot="5400000">
            <a:off x="6484929" y="2012701"/>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49" name="Rechteck 248"/>
          <p:cNvSpPr/>
          <p:nvPr/>
        </p:nvSpPr>
        <p:spPr>
          <a:xfrm rot="5400000">
            <a:off x="6148580" y="2277522"/>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6" name="Textplatzhalter 75"/>
          <p:cNvSpPr>
            <a:spLocks noGrp="1"/>
          </p:cNvSpPr>
          <p:nvPr>
            <p:ph type="body" sz="quarter" idx="13"/>
          </p:nvPr>
        </p:nvSpPr>
        <p:spPr>
          <a:xfrm>
            <a:off x="279087" y="319711"/>
            <a:ext cx="6817583" cy="523253"/>
          </a:xfrm>
        </p:spPr>
        <p:txBody>
          <a:bodyPr/>
          <a:lstStyle/>
          <a:p>
            <a:r>
              <a:rPr lang="en-US" dirty="0" smtClean="0"/>
              <a:t>The paywall is </a:t>
            </a:r>
            <a:r>
              <a:rPr lang="en-US" dirty="0"/>
              <a:t>a massive obstacle to </a:t>
            </a:r>
            <a:r>
              <a:rPr lang="en-US" dirty="0" smtClean="0"/>
              <a:t>progress</a:t>
            </a:r>
            <a:endParaRPr lang="en-US" dirty="0"/>
          </a:p>
        </p:txBody>
      </p:sp>
      <p:sp>
        <p:nvSpPr>
          <p:cNvPr id="8" name="Foliennummernplatzhalter 4"/>
          <p:cNvSpPr>
            <a:spLocks noGrp="1"/>
          </p:cNvSpPr>
          <p:nvPr>
            <p:ph type="sldNum" sz="quarter" idx="12"/>
          </p:nvPr>
        </p:nvSpPr>
        <p:spPr>
          <a:xfrm>
            <a:off x="8244408" y="4994609"/>
            <a:ext cx="714380" cy="125373"/>
          </a:xfrm>
        </p:spPr>
        <p:txBody>
          <a:bodyPr/>
          <a:lstStyle/>
          <a:p>
            <a:fld id="{4AD1E780-DE1C-4ECA-B5E5-863D0BC53287}" type="slidenum">
              <a:rPr lang="de-DE" smtClean="0">
                <a:solidFill>
                  <a:prstClr val="black">
                    <a:tint val="75000"/>
                  </a:prstClr>
                </a:solidFill>
              </a:rPr>
              <a:pPr/>
              <a:t>13</a:t>
            </a:fld>
            <a:endParaRPr lang="de-DE" dirty="0">
              <a:solidFill>
                <a:prstClr val="black">
                  <a:tint val="75000"/>
                </a:prstClr>
              </a:solidFill>
            </a:endParaRPr>
          </a:p>
        </p:txBody>
      </p:sp>
      <p:grpSp>
        <p:nvGrpSpPr>
          <p:cNvPr id="2" name="Gruppieren 1"/>
          <p:cNvGrpSpPr/>
          <p:nvPr/>
        </p:nvGrpSpPr>
        <p:grpSpPr>
          <a:xfrm>
            <a:off x="238125" y="4497779"/>
            <a:ext cx="8483844" cy="495702"/>
            <a:chOff x="258988" y="5997039"/>
            <a:chExt cx="8990824" cy="660936"/>
          </a:xfrm>
        </p:grpSpPr>
        <p:sp>
          <p:nvSpPr>
            <p:cNvPr id="34" name="Rechteck 33"/>
            <p:cNvSpPr/>
            <p:nvPr/>
          </p:nvSpPr>
          <p:spPr>
            <a:xfrm>
              <a:off x="258988" y="5997039"/>
              <a:ext cx="8903084" cy="660936"/>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2"/>
                </a:solidFill>
              </a:endParaRPr>
            </a:p>
          </p:txBody>
        </p:sp>
        <p:sp>
          <p:nvSpPr>
            <p:cNvPr id="33" name="Inhaltsplatzhalter 8"/>
            <p:cNvSpPr txBox="1">
              <a:spLocks/>
            </p:cNvSpPr>
            <p:nvPr/>
          </p:nvSpPr>
          <p:spPr>
            <a:xfrm>
              <a:off x="258988" y="6036368"/>
              <a:ext cx="8990824" cy="60871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smtClean="0"/>
                <a:t>A small group of large commercial publishers continue to monopolize library budgets,</a:t>
              </a:r>
            </a:p>
            <a:p>
              <a:pPr algn="ctr"/>
              <a:r>
                <a:rPr lang="en-US" sz="1400" b="1" dirty="0" smtClean="0"/>
                <a:t>limiting opportunity for other publishing entities.</a:t>
              </a:r>
              <a:endParaRPr lang="en-US" sz="1400" b="1" dirty="0"/>
            </a:p>
          </p:txBody>
        </p:sp>
      </p:grpSp>
      <p:sp>
        <p:nvSpPr>
          <p:cNvPr id="260" name="Rechteck 259"/>
          <p:cNvSpPr/>
          <p:nvPr/>
        </p:nvSpPr>
        <p:spPr>
          <a:xfrm rot="5400000">
            <a:off x="2788352" y="2277096"/>
            <a:ext cx="232456" cy="624042"/>
          </a:xfrm>
          <a:prstGeom prst="rect">
            <a:avLst/>
          </a:prstGeom>
          <a:solidFill>
            <a:schemeClr val="bg2"/>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grpSp>
        <p:nvGrpSpPr>
          <p:cNvPr id="129" name="Gruppieren 128"/>
          <p:cNvGrpSpPr/>
          <p:nvPr/>
        </p:nvGrpSpPr>
        <p:grpSpPr>
          <a:xfrm>
            <a:off x="1583718" y="1679026"/>
            <a:ext cx="5662560" cy="116228"/>
            <a:chOff x="1715694" y="2238699"/>
            <a:chExt cx="6134440" cy="309942"/>
          </a:xfrm>
          <a:solidFill>
            <a:schemeClr val="bg1"/>
          </a:solidFill>
        </p:grpSpPr>
        <p:sp>
          <p:nvSpPr>
            <p:cNvPr id="130" name="Rechteck 129"/>
            <p:cNvSpPr/>
            <p:nvPr/>
          </p:nvSpPr>
          <p:spPr>
            <a:xfrm rot="5400000">
              <a:off x="1898746" y="2055648"/>
              <a:ext cx="309941" cy="676045"/>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31" name="Rechteck 130"/>
            <p:cNvSpPr/>
            <p:nvPr/>
          </p:nvSpPr>
          <p:spPr>
            <a:xfrm rot="5400000">
              <a:off x="2627277" y="2055648"/>
              <a:ext cx="309941" cy="676045"/>
            </a:xfrm>
            <a:prstGeom prst="rect">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32" name="Rechteck 131"/>
            <p:cNvSpPr/>
            <p:nvPr/>
          </p:nvSpPr>
          <p:spPr>
            <a:xfrm rot="5400000">
              <a:off x="3355808" y="2055648"/>
              <a:ext cx="309941" cy="676045"/>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33" name="Rechteck 132"/>
            <p:cNvSpPr/>
            <p:nvPr/>
          </p:nvSpPr>
          <p:spPr>
            <a:xfrm rot="5400000">
              <a:off x="4084339" y="2055648"/>
              <a:ext cx="309941" cy="676045"/>
            </a:xfrm>
            <a:prstGeom prst="rect">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34" name="Rechteck 133"/>
            <p:cNvSpPr/>
            <p:nvPr/>
          </p:nvSpPr>
          <p:spPr>
            <a:xfrm rot="5400000">
              <a:off x="4812870" y="2055648"/>
              <a:ext cx="309941" cy="676045"/>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35" name="Rechteck 134"/>
            <p:cNvSpPr/>
            <p:nvPr/>
          </p:nvSpPr>
          <p:spPr>
            <a:xfrm rot="5400000">
              <a:off x="5541401" y="2055648"/>
              <a:ext cx="309941" cy="676045"/>
            </a:xfrm>
            <a:prstGeom prst="rect">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36" name="Rechteck 135"/>
            <p:cNvSpPr/>
            <p:nvPr/>
          </p:nvSpPr>
          <p:spPr>
            <a:xfrm rot="5400000">
              <a:off x="6269931" y="2055648"/>
              <a:ext cx="309941" cy="676045"/>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37" name="Rechteck 136"/>
            <p:cNvSpPr/>
            <p:nvPr/>
          </p:nvSpPr>
          <p:spPr>
            <a:xfrm rot="5400000">
              <a:off x="7538180" y="2236687"/>
              <a:ext cx="309941" cy="313966"/>
            </a:xfrm>
            <a:prstGeom prst="rect">
              <a:avLst/>
            </a:prstGeom>
            <a:grp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sp>
          <p:nvSpPr>
            <p:cNvPr id="138" name="Rechteck 137"/>
            <p:cNvSpPr/>
            <p:nvPr/>
          </p:nvSpPr>
          <p:spPr>
            <a:xfrm rot="5400000">
              <a:off x="6996280" y="2055648"/>
              <a:ext cx="309941" cy="676045"/>
            </a:xfrm>
            <a:prstGeom prst="rect">
              <a:avLst/>
            </a:prstGeom>
            <a:grp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1"/>
                </a:solidFill>
              </a:endParaRPr>
            </a:p>
          </p:txBody>
        </p:sp>
      </p:grpSp>
      <p:grpSp>
        <p:nvGrpSpPr>
          <p:cNvPr id="119" name="Gruppieren 1"/>
          <p:cNvGrpSpPr/>
          <p:nvPr/>
        </p:nvGrpSpPr>
        <p:grpSpPr>
          <a:xfrm>
            <a:off x="196729" y="1065830"/>
            <a:ext cx="8483844" cy="495702"/>
            <a:chOff x="258988" y="5997039"/>
            <a:chExt cx="8990824" cy="660936"/>
          </a:xfrm>
        </p:grpSpPr>
        <p:sp>
          <p:nvSpPr>
            <p:cNvPr id="121" name="Rechteck 33"/>
            <p:cNvSpPr/>
            <p:nvPr/>
          </p:nvSpPr>
          <p:spPr>
            <a:xfrm>
              <a:off x="258988" y="5997039"/>
              <a:ext cx="8903084" cy="660936"/>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2"/>
                </a:solidFill>
              </a:endParaRPr>
            </a:p>
          </p:txBody>
        </p:sp>
        <p:sp>
          <p:nvSpPr>
            <p:cNvPr id="123" name="Inhaltsplatzhalter 8"/>
            <p:cNvSpPr txBox="1">
              <a:spLocks/>
            </p:cNvSpPr>
            <p:nvPr/>
          </p:nvSpPr>
          <p:spPr>
            <a:xfrm>
              <a:off x="258988" y="6036368"/>
              <a:ext cx="8990824" cy="60871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smtClean="0"/>
                <a:t>Only </a:t>
              </a:r>
              <a:r>
                <a:rPr lang="en-US" sz="1400" b="1" dirty="0"/>
                <a:t>15% of content is </a:t>
              </a:r>
              <a:r>
                <a:rPr lang="en-US" sz="1400" b="1" dirty="0" smtClean="0"/>
                <a:t>published immediately open access (not counting hybrid),</a:t>
              </a:r>
            </a:p>
            <a:p>
              <a:pPr algn="ctr"/>
              <a:r>
                <a:rPr lang="en-US" sz="1400" b="1" dirty="0" smtClean="0"/>
                <a:t> hindering research and the advancement of science.</a:t>
              </a:r>
              <a:endParaRPr lang="en-US" sz="1400" b="1" dirty="0"/>
            </a:p>
          </p:txBody>
        </p:sp>
      </p:grpSp>
    </p:spTree>
    <p:extLst>
      <p:ext uri="{BB962C8B-B14F-4D97-AF65-F5344CB8AC3E}">
        <p14:creationId xmlns:p14="http://schemas.microsoft.com/office/powerpoint/2010/main" val="32318482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6671088" y="976138"/>
            <a:ext cx="710784" cy="683066"/>
          </a:xfrm>
          <a:prstGeom prst="rect">
            <a:avLst/>
          </a:prstGeom>
        </p:spPr>
      </p:pic>
      <p:pic>
        <p:nvPicPr>
          <p:cNvPr id="6" name="Grafik 5"/>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1993961" y="978503"/>
            <a:ext cx="701614" cy="674253"/>
          </a:xfrm>
          <a:prstGeom prst="rect">
            <a:avLst/>
          </a:prstGeom>
        </p:spPr>
      </p:pic>
      <p:sp>
        <p:nvSpPr>
          <p:cNvPr id="5" name="Foliennummernplatzhalter 4"/>
          <p:cNvSpPr>
            <a:spLocks noGrp="1"/>
          </p:cNvSpPr>
          <p:nvPr>
            <p:ph type="sldNum" sz="quarter" idx="12"/>
          </p:nvPr>
        </p:nvSpPr>
        <p:spPr/>
        <p:txBody>
          <a:bodyPr/>
          <a:lstStyle/>
          <a:p>
            <a:fld id="{4AD1E780-DE1C-4ECA-B5E5-863D0BC53287}" type="slidenum">
              <a:rPr lang="de-DE" smtClean="0"/>
              <a:pPr/>
              <a:t>14</a:t>
            </a:fld>
            <a:endParaRPr lang="de-DE" dirty="0"/>
          </a:p>
        </p:txBody>
      </p:sp>
      <p:sp>
        <p:nvSpPr>
          <p:cNvPr id="9" name="Textplatzhalter 8"/>
          <p:cNvSpPr>
            <a:spLocks noGrp="1"/>
          </p:cNvSpPr>
          <p:nvPr>
            <p:ph type="body" sz="quarter" idx="13"/>
          </p:nvPr>
        </p:nvSpPr>
        <p:spPr>
          <a:xfrm>
            <a:off x="279084" y="319726"/>
            <a:ext cx="7102787" cy="523253"/>
          </a:xfrm>
        </p:spPr>
        <p:txBody>
          <a:bodyPr/>
          <a:lstStyle/>
          <a:p>
            <a:r>
              <a:rPr lang="en-US" dirty="0" smtClean="0"/>
              <a:t>The paywall system: antithesis of openness and opportunity</a:t>
            </a:r>
            <a:endParaRPr lang="en-US" dirty="0"/>
          </a:p>
        </p:txBody>
      </p:sp>
      <p:sp>
        <p:nvSpPr>
          <p:cNvPr id="3" name="Rechteck 2"/>
          <p:cNvSpPr/>
          <p:nvPr/>
        </p:nvSpPr>
        <p:spPr>
          <a:xfrm>
            <a:off x="321652" y="1709533"/>
            <a:ext cx="3420208" cy="270676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0" name="Rechteck 19"/>
          <p:cNvSpPr/>
          <p:nvPr/>
        </p:nvSpPr>
        <p:spPr>
          <a:xfrm>
            <a:off x="5095875" y="1709533"/>
            <a:ext cx="3420208" cy="2706769"/>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1" name="Inhaltsplatzhalter 8"/>
          <p:cNvSpPr txBox="1">
            <a:spLocks/>
          </p:cNvSpPr>
          <p:nvPr/>
        </p:nvSpPr>
        <p:spPr>
          <a:xfrm>
            <a:off x="321652" y="1256028"/>
            <a:ext cx="3420208" cy="261610"/>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00" b="1" dirty="0"/>
              <a:t>Paywall regime</a:t>
            </a:r>
            <a:endParaRPr lang="en-US" sz="1700" i="1" dirty="0"/>
          </a:p>
        </p:txBody>
      </p:sp>
      <p:sp>
        <p:nvSpPr>
          <p:cNvPr id="22" name="Inhaltsplatzhalter 8"/>
          <p:cNvSpPr txBox="1">
            <a:spLocks/>
          </p:cNvSpPr>
          <p:nvPr/>
        </p:nvSpPr>
        <p:spPr>
          <a:xfrm>
            <a:off x="479916" y="1904585"/>
            <a:ext cx="3261946" cy="2282676"/>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53" indent="-292153">
              <a:buClr>
                <a:schemeClr val="accent6"/>
              </a:buClr>
              <a:buFont typeface="Symbol" panose="05050102010706020507" pitchFamily="18" charset="2"/>
              <a:buChar char="-"/>
            </a:pPr>
            <a:r>
              <a:rPr lang="en-US" sz="1400" dirty="0"/>
              <a:t>excessive costs and  </a:t>
            </a:r>
            <a:r>
              <a:rPr lang="en-US" sz="1400" dirty="0" smtClean="0"/>
              <a:t>enormous </a:t>
            </a:r>
            <a:br>
              <a:rPr lang="en-US" sz="1400" dirty="0" smtClean="0"/>
            </a:br>
            <a:r>
              <a:rPr lang="en-US" sz="1400" dirty="0" smtClean="0"/>
              <a:t>price </a:t>
            </a:r>
            <a:r>
              <a:rPr lang="en-US" sz="1400" dirty="0"/>
              <a:t>increases</a:t>
            </a:r>
          </a:p>
          <a:p>
            <a:pPr marL="292153" indent="-292153">
              <a:buClr>
                <a:schemeClr val="accent6"/>
              </a:buClr>
              <a:buFont typeface="Symbol" panose="05050102010706020507" pitchFamily="18" charset="2"/>
              <a:buChar char="-"/>
            </a:pPr>
            <a:r>
              <a:rPr lang="en-US" sz="1400" dirty="0"/>
              <a:t>restrictive copyright</a:t>
            </a:r>
          </a:p>
          <a:p>
            <a:pPr marL="292153" indent="-292153">
              <a:buClr>
                <a:schemeClr val="accent6"/>
              </a:buClr>
              <a:buFont typeface="Symbol" panose="05050102010706020507" pitchFamily="18" charset="2"/>
              <a:buChar char="-"/>
            </a:pPr>
            <a:r>
              <a:rPr lang="en-US" sz="1400" dirty="0"/>
              <a:t>budgets monopolized by big deals with pricing still based </a:t>
            </a:r>
            <a:r>
              <a:rPr lang="en-US" sz="1400" dirty="0" smtClean="0"/>
              <a:t>on </a:t>
            </a:r>
            <a:r>
              <a:rPr lang="en-US" sz="1400" dirty="0"/>
              <a:t>print legacy</a:t>
            </a:r>
          </a:p>
          <a:p>
            <a:pPr marL="292153" indent="-292153">
              <a:buClr>
                <a:schemeClr val="accent6"/>
              </a:buClr>
              <a:buFont typeface="Symbol" panose="05050102010706020507" pitchFamily="18" charset="2"/>
              <a:buChar char="-"/>
            </a:pPr>
            <a:r>
              <a:rPr lang="en-US" sz="1400" dirty="0"/>
              <a:t>utterly outdated system, prohibiting digital research</a:t>
            </a:r>
          </a:p>
          <a:p>
            <a:pPr marL="292153" indent="-292153">
              <a:buClr>
                <a:schemeClr val="accent6"/>
              </a:buClr>
              <a:buFont typeface="Symbol" panose="05050102010706020507" pitchFamily="18" charset="2"/>
              <a:buChar char="-"/>
            </a:pPr>
            <a:r>
              <a:rPr lang="en-US" sz="1400" dirty="0"/>
              <a:t>roadblock to innovation and new development</a:t>
            </a:r>
          </a:p>
          <a:p>
            <a:pPr marL="292153" indent="-292153">
              <a:buClr>
                <a:schemeClr val="accent6"/>
              </a:buClr>
              <a:buFont typeface="Symbol" panose="05050102010706020507" pitchFamily="18" charset="2"/>
              <a:buChar char="-"/>
            </a:pPr>
            <a:r>
              <a:rPr lang="en-US" sz="1400" dirty="0"/>
              <a:t>breeding piracy</a:t>
            </a:r>
          </a:p>
        </p:txBody>
      </p:sp>
      <p:sp>
        <p:nvSpPr>
          <p:cNvPr id="23" name="Inhaltsplatzhalter 8"/>
          <p:cNvSpPr txBox="1">
            <a:spLocks/>
          </p:cNvSpPr>
          <p:nvPr/>
        </p:nvSpPr>
        <p:spPr>
          <a:xfrm>
            <a:off x="5095875" y="1256028"/>
            <a:ext cx="3420208" cy="261610"/>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00" b="1" dirty="0">
                <a:solidFill>
                  <a:schemeClr val="accent6"/>
                </a:solidFill>
              </a:rPr>
              <a:t>Open Access</a:t>
            </a:r>
            <a:endParaRPr lang="en-US" sz="1700" i="1" dirty="0">
              <a:solidFill>
                <a:schemeClr val="accent6"/>
              </a:solidFill>
            </a:endParaRPr>
          </a:p>
        </p:txBody>
      </p:sp>
      <p:sp>
        <p:nvSpPr>
          <p:cNvPr id="24" name="Inhaltsplatzhalter 8"/>
          <p:cNvSpPr txBox="1">
            <a:spLocks/>
          </p:cNvSpPr>
          <p:nvPr/>
        </p:nvSpPr>
        <p:spPr>
          <a:xfrm>
            <a:off x="5254137" y="1904583"/>
            <a:ext cx="3261946" cy="2498120"/>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53" indent="-292153">
              <a:buClr>
                <a:schemeClr val="accent6"/>
              </a:buClr>
              <a:buFont typeface="Symbol" panose="05050102010706020507" pitchFamily="18" charset="2"/>
              <a:buChar char="-"/>
            </a:pPr>
            <a:r>
              <a:rPr lang="en-US" sz="1400" dirty="0"/>
              <a:t>sustainable economic models, transparency and competition</a:t>
            </a:r>
          </a:p>
          <a:p>
            <a:pPr marL="292153" indent="-292153">
              <a:buClr>
                <a:schemeClr val="accent6"/>
              </a:buClr>
              <a:buFont typeface="Symbol" panose="05050102010706020507" pitchFamily="18" charset="2"/>
              <a:buChar char="-"/>
            </a:pPr>
            <a:r>
              <a:rPr lang="en-US" sz="1400" dirty="0"/>
              <a:t>free usage rights </a:t>
            </a:r>
          </a:p>
          <a:p>
            <a:pPr marL="292153" indent="-292153">
              <a:buClr>
                <a:schemeClr val="accent6"/>
              </a:buClr>
              <a:buFont typeface="Symbol" panose="05050102010706020507" pitchFamily="18" charset="2"/>
              <a:buChar char="-"/>
            </a:pPr>
            <a:r>
              <a:rPr lang="en-US" sz="1400" dirty="0"/>
              <a:t>money free to float where needed, costs based on service levels</a:t>
            </a:r>
          </a:p>
          <a:p>
            <a:pPr marL="292153" indent="-292153">
              <a:buClr>
                <a:schemeClr val="accent6"/>
              </a:buClr>
              <a:buFont typeface="Symbol" panose="05050102010706020507" pitchFamily="18" charset="2"/>
              <a:buChar char="-"/>
            </a:pPr>
            <a:r>
              <a:rPr lang="en-US" sz="1400" dirty="0"/>
              <a:t>open system, responding to the need of the 21</a:t>
            </a:r>
            <a:r>
              <a:rPr lang="en-US" sz="1400" baseline="30000" dirty="0"/>
              <a:t>st</a:t>
            </a:r>
            <a:r>
              <a:rPr lang="en-US" sz="1400" dirty="0"/>
              <a:t> century</a:t>
            </a:r>
          </a:p>
          <a:p>
            <a:pPr marL="292153" indent="-292153">
              <a:buClr>
                <a:schemeClr val="accent6"/>
              </a:buClr>
              <a:buFont typeface="Symbol" panose="05050102010706020507" pitchFamily="18" charset="2"/>
              <a:buChar char="-"/>
            </a:pPr>
            <a:r>
              <a:rPr lang="en-US" sz="1400" dirty="0"/>
              <a:t>fundamental principle to enable the richness of Open Science</a:t>
            </a:r>
          </a:p>
          <a:p>
            <a:pPr marL="292153" indent="-292153">
              <a:buClr>
                <a:schemeClr val="accent6"/>
              </a:buClr>
              <a:buFont typeface="Symbol" panose="05050102010706020507" pitchFamily="18" charset="2"/>
              <a:buChar char="-"/>
            </a:pPr>
            <a:r>
              <a:rPr lang="en-US" sz="1400" dirty="0"/>
              <a:t>enabling </a:t>
            </a:r>
            <a:r>
              <a:rPr lang="en-US" sz="1400" dirty="0" smtClean="0"/>
              <a:t>legitimate social academic </a:t>
            </a:r>
            <a:r>
              <a:rPr lang="en-US" sz="1400" dirty="0"/>
              <a:t>networks</a:t>
            </a:r>
          </a:p>
        </p:txBody>
      </p:sp>
      <p:sp>
        <p:nvSpPr>
          <p:cNvPr id="2" name="Freihandform 1"/>
          <p:cNvSpPr/>
          <p:nvPr/>
        </p:nvSpPr>
        <p:spPr>
          <a:xfrm>
            <a:off x="4374524" y="1709533"/>
            <a:ext cx="165142" cy="79709"/>
          </a:xfrm>
          <a:custGeom>
            <a:avLst/>
            <a:gdLst>
              <a:gd name="connsiteX0" fmla="*/ 0 w 178904"/>
              <a:gd name="connsiteY0" fmla="*/ 0 h 106279"/>
              <a:gd name="connsiteX1" fmla="*/ 106017 w 178904"/>
              <a:gd name="connsiteY1" fmla="*/ 33130 h 106279"/>
              <a:gd name="connsiteX2" fmla="*/ 159026 w 178904"/>
              <a:gd name="connsiteY2" fmla="*/ 13252 h 106279"/>
              <a:gd name="connsiteX3" fmla="*/ 178904 w 178904"/>
              <a:gd name="connsiteY3" fmla="*/ 0 h 106279"/>
              <a:gd name="connsiteX4" fmla="*/ 178904 w 178904"/>
              <a:gd name="connsiteY4" fmla="*/ 46383 h 106279"/>
              <a:gd name="connsiteX5" fmla="*/ 139148 w 178904"/>
              <a:gd name="connsiteY5" fmla="*/ 92765 h 106279"/>
              <a:gd name="connsiteX6" fmla="*/ 119270 w 178904"/>
              <a:gd name="connsiteY6" fmla="*/ 106017 h 106279"/>
              <a:gd name="connsiteX7" fmla="*/ 86139 w 178904"/>
              <a:gd name="connsiteY7" fmla="*/ 99391 h 106279"/>
              <a:gd name="connsiteX8" fmla="*/ 79513 w 178904"/>
              <a:gd name="connsiteY8" fmla="*/ 92765 h 106279"/>
              <a:gd name="connsiteX9" fmla="*/ 0 w 178904"/>
              <a:gd name="connsiteY9" fmla="*/ 0 h 10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904" h="106279">
                <a:moveTo>
                  <a:pt x="0" y="0"/>
                </a:moveTo>
                <a:lnTo>
                  <a:pt x="106017" y="33130"/>
                </a:lnTo>
                <a:cubicBezTo>
                  <a:pt x="123687" y="26504"/>
                  <a:pt x="141846" y="21061"/>
                  <a:pt x="159026" y="13252"/>
                </a:cubicBezTo>
                <a:cubicBezTo>
                  <a:pt x="166276" y="9957"/>
                  <a:pt x="178904" y="0"/>
                  <a:pt x="178904" y="0"/>
                </a:cubicBezTo>
                <a:lnTo>
                  <a:pt x="178904" y="46383"/>
                </a:lnTo>
                <a:cubicBezTo>
                  <a:pt x="165652" y="61844"/>
                  <a:pt x="153547" y="78366"/>
                  <a:pt x="139148" y="92765"/>
                </a:cubicBezTo>
                <a:cubicBezTo>
                  <a:pt x="133517" y="98396"/>
                  <a:pt x="127172" y="105029"/>
                  <a:pt x="119270" y="106017"/>
                </a:cubicBezTo>
                <a:cubicBezTo>
                  <a:pt x="108095" y="107414"/>
                  <a:pt x="96823" y="102952"/>
                  <a:pt x="86139" y="99391"/>
                </a:cubicBezTo>
                <a:cubicBezTo>
                  <a:pt x="83176" y="98403"/>
                  <a:pt x="81722" y="94974"/>
                  <a:pt x="79513" y="92765"/>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 name="Freihandform 3"/>
          <p:cNvSpPr/>
          <p:nvPr/>
        </p:nvSpPr>
        <p:spPr>
          <a:xfrm>
            <a:off x="3820990" y="1264445"/>
            <a:ext cx="386862" cy="714375"/>
          </a:xfrm>
          <a:custGeom>
            <a:avLst/>
            <a:gdLst>
              <a:gd name="connsiteX0" fmla="*/ 19050 w 419100"/>
              <a:gd name="connsiteY0" fmla="*/ 0 h 952500"/>
              <a:gd name="connsiteX1" fmla="*/ 419100 w 419100"/>
              <a:gd name="connsiteY1" fmla="*/ 400050 h 952500"/>
              <a:gd name="connsiteX2" fmla="*/ 0 w 419100"/>
              <a:gd name="connsiteY2" fmla="*/ 276225 h 952500"/>
              <a:gd name="connsiteX3" fmla="*/ 400050 w 419100"/>
              <a:gd name="connsiteY3" fmla="*/ 952500 h 952500"/>
            </a:gdLst>
            <a:ahLst/>
            <a:cxnLst>
              <a:cxn ang="0">
                <a:pos x="connsiteX0" y="connsiteY0"/>
              </a:cxn>
              <a:cxn ang="0">
                <a:pos x="connsiteX1" y="connsiteY1"/>
              </a:cxn>
              <a:cxn ang="0">
                <a:pos x="connsiteX2" y="connsiteY2"/>
              </a:cxn>
              <a:cxn ang="0">
                <a:pos x="connsiteX3" y="connsiteY3"/>
              </a:cxn>
            </a:cxnLst>
            <a:rect l="l" t="t" r="r" b="b"/>
            <a:pathLst>
              <a:path w="419100" h="952500">
                <a:moveTo>
                  <a:pt x="19050" y="0"/>
                </a:moveTo>
                <a:lnTo>
                  <a:pt x="419100" y="400050"/>
                </a:lnTo>
                <a:lnTo>
                  <a:pt x="0" y="276225"/>
                </a:lnTo>
                <a:lnTo>
                  <a:pt x="400050" y="952500"/>
                </a:ln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sp>
        <p:nvSpPr>
          <p:cNvPr id="8" name="Freihandform 7"/>
          <p:cNvSpPr/>
          <p:nvPr/>
        </p:nvSpPr>
        <p:spPr>
          <a:xfrm>
            <a:off x="4629883" y="1550196"/>
            <a:ext cx="580292" cy="157163"/>
          </a:xfrm>
          <a:custGeom>
            <a:avLst/>
            <a:gdLst>
              <a:gd name="connsiteX0" fmla="*/ 180975 w 628650"/>
              <a:gd name="connsiteY0" fmla="*/ 0 h 209550"/>
              <a:gd name="connsiteX1" fmla="*/ 0 w 628650"/>
              <a:gd name="connsiteY1" fmla="*/ 209550 h 209550"/>
              <a:gd name="connsiteX2" fmla="*/ 628650 w 628650"/>
              <a:gd name="connsiteY2" fmla="*/ 28575 h 209550"/>
            </a:gdLst>
            <a:ahLst/>
            <a:cxnLst>
              <a:cxn ang="0">
                <a:pos x="connsiteX0" y="connsiteY0"/>
              </a:cxn>
              <a:cxn ang="0">
                <a:pos x="connsiteX1" y="connsiteY1"/>
              </a:cxn>
              <a:cxn ang="0">
                <a:pos x="connsiteX2" y="connsiteY2"/>
              </a:cxn>
            </a:cxnLst>
            <a:rect l="l" t="t" r="r" b="b"/>
            <a:pathLst>
              <a:path w="628650" h="209550">
                <a:moveTo>
                  <a:pt x="180975" y="0"/>
                </a:moveTo>
                <a:lnTo>
                  <a:pt x="0" y="209550"/>
                </a:lnTo>
                <a:lnTo>
                  <a:pt x="628650" y="28575"/>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sp>
        <p:nvSpPr>
          <p:cNvPr id="10" name="Freihandform 9"/>
          <p:cNvSpPr/>
          <p:nvPr/>
        </p:nvSpPr>
        <p:spPr>
          <a:xfrm>
            <a:off x="5421193" y="1501148"/>
            <a:ext cx="114300" cy="28575"/>
          </a:xfrm>
          <a:custGeom>
            <a:avLst/>
            <a:gdLst>
              <a:gd name="connsiteX0" fmla="*/ 0 w 123825"/>
              <a:gd name="connsiteY0" fmla="*/ 38100 h 38100"/>
              <a:gd name="connsiteX1" fmla="*/ 123825 w 123825"/>
              <a:gd name="connsiteY1" fmla="*/ 0 h 38100"/>
            </a:gdLst>
            <a:ahLst/>
            <a:cxnLst>
              <a:cxn ang="0">
                <a:pos x="connsiteX0" y="connsiteY0"/>
              </a:cxn>
              <a:cxn ang="0">
                <a:pos x="connsiteX1" y="connsiteY1"/>
              </a:cxn>
            </a:cxnLst>
            <a:rect l="l" t="t" r="r" b="b"/>
            <a:pathLst>
              <a:path w="123825" h="38100">
                <a:moveTo>
                  <a:pt x="0" y="38100"/>
                </a:moveTo>
                <a:lnTo>
                  <a:pt x="123825" y="0"/>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sp>
        <p:nvSpPr>
          <p:cNvPr id="18" name="Freihandform 17"/>
          <p:cNvSpPr/>
          <p:nvPr/>
        </p:nvSpPr>
        <p:spPr>
          <a:xfrm flipH="1">
            <a:off x="3440630" y="1472573"/>
            <a:ext cx="114300" cy="28575"/>
          </a:xfrm>
          <a:custGeom>
            <a:avLst/>
            <a:gdLst>
              <a:gd name="connsiteX0" fmla="*/ 0 w 123825"/>
              <a:gd name="connsiteY0" fmla="*/ 38100 h 38100"/>
              <a:gd name="connsiteX1" fmla="*/ 123825 w 123825"/>
              <a:gd name="connsiteY1" fmla="*/ 0 h 38100"/>
            </a:gdLst>
            <a:ahLst/>
            <a:cxnLst>
              <a:cxn ang="0">
                <a:pos x="connsiteX0" y="connsiteY0"/>
              </a:cxn>
              <a:cxn ang="0">
                <a:pos x="connsiteX1" y="connsiteY1"/>
              </a:cxn>
            </a:cxnLst>
            <a:rect l="l" t="t" r="r" b="b"/>
            <a:pathLst>
              <a:path w="123825" h="38100">
                <a:moveTo>
                  <a:pt x="0" y="38100"/>
                </a:moveTo>
                <a:lnTo>
                  <a:pt x="123825" y="0"/>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sp>
        <p:nvSpPr>
          <p:cNvPr id="11" name="Freihandform 10"/>
          <p:cNvSpPr/>
          <p:nvPr/>
        </p:nvSpPr>
        <p:spPr>
          <a:xfrm>
            <a:off x="4814523" y="1164433"/>
            <a:ext cx="114300" cy="128588"/>
          </a:xfrm>
          <a:custGeom>
            <a:avLst/>
            <a:gdLst>
              <a:gd name="connsiteX0" fmla="*/ 0 w 123825"/>
              <a:gd name="connsiteY0" fmla="*/ 171450 h 171450"/>
              <a:gd name="connsiteX1" fmla="*/ 123825 w 123825"/>
              <a:gd name="connsiteY1" fmla="*/ 0 h 171450"/>
            </a:gdLst>
            <a:ahLst/>
            <a:cxnLst>
              <a:cxn ang="0">
                <a:pos x="connsiteX0" y="connsiteY0"/>
              </a:cxn>
              <a:cxn ang="0">
                <a:pos x="connsiteX1" y="connsiteY1"/>
              </a:cxn>
            </a:cxnLst>
            <a:rect l="l" t="t" r="r" b="b"/>
            <a:pathLst>
              <a:path w="123825" h="171450">
                <a:moveTo>
                  <a:pt x="0" y="171450"/>
                </a:moveTo>
                <a:lnTo>
                  <a:pt x="123825" y="0"/>
                </a:ln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sp>
        <p:nvSpPr>
          <p:cNvPr id="25" name="Freihandform 24"/>
          <p:cNvSpPr/>
          <p:nvPr/>
        </p:nvSpPr>
        <p:spPr>
          <a:xfrm rot="16200000">
            <a:off x="4640601" y="2099714"/>
            <a:ext cx="92869" cy="158262"/>
          </a:xfrm>
          <a:custGeom>
            <a:avLst/>
            <a:gdLst>
              <a:gd name="connsiteX0" fmla="*/ 0 w 123825"/>
              <a:gd name="connsiteY0" fmla="*/ 171450 h 171450"/>
              <a:gd name="connsiteX1" fmla="*/ 123825 w 123825"/>
              <a:gd name="connsiteY1" fmla="*/ 0 h 171450"/>
            </a:gdLst>
            <a:ahLst/>
            <a:cxnLst>
              <a:cxn ang="0">
                <a:pos x="connsiteX0" y="connsiteY0"/>
              </a:cxn>
              <a:cxn ang="0">
                <a:pos x="connsiteX1" y="connsiteY1"/>
              </a:cxn>
            </a:cxnLst>
            <a:rect l="l" t="t" r="r" b="b"/>
            <a:pathLst>
              <a:path w="123825" h="171450">
                <a:moveTo>
                  <a:pt x="0" y="171450"/>
                </a:moveTo>
                <a:lnTo>
                  <a:pt x="123825" y="0"/>
                </a:lnTo>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sp>
        <p:nvSpPr>
          <p:cNvPr id="12" name="Freihandform 11"/>
          <p:cNvSpPr/>
          <p:nvPr/>
        </p:nvSpPr>
        <p:spPr>
          <a:xfrm flipH="1">
            <a:off x="3627559" y="2025253"/>
            <a:ext cx="158262" cy="107156"/>
          </a:xfrm>
          <a:custGeom>
            <a:avLst/>
            <a:gdLst>
              <a:gd name="connsiteX0" fmla="*/ 171450 w 171450"/>
              <a:gd name="connsiteY0" fmla="*/ 142875 h 142875"/>
              <a:gd name="connsiteX1" fmla="*/ 0 w 171450"/>
              <a:gd name="connsiteY1" fmla="*/ 0 h 142875"/>
            </a:gdLst>
            <a:ahLst/>
            <a:cxnLst>
              <a:cxn ang="0">
                <a:pos x="connsiteX0" y="connsiteY0"/>
              </a:cxn>
              <a:cxn ang="0">
                <a:pos x="connsiteX1" y="connsiteY1"/>
              </a:cxn>
            </a:cxnLst>
            <a:rect l="l" t="t" r="r" b="b"/>
            <a:pathLst>
              <a:path w="171450" h="142875">
                <a:moveTo>
                  <a:pt x="171450" y="142875"/>
                </a:moveTo>
                <a:lnTo>
                  <a:pt x="0" y="0"/>
                </a:ln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sp>
        <p:nvSpPr>
          <p:cNvPr id="13" name="Freihandform 12"/>
          <p:cNvSpPr/>
          <p:nvPr/>
        </p:nvSpPr>
        <p:spPr>
          <a:xfrm>
            <a:off x="3530847" y="989220"/>
            <a:ext cx="96715" cy="64294"/>
          </a:xfrm>
          <a:custGeom>
            <a:avLst/>
            <a:gdLst>
              <a:gd name="connsiteX0" fmla="*/ 104775 w 104775"/>
              <a:gd name="connsiteY0" fmla="*/ 85725 h 85725"/>
              <a:gd name="connsiteX1" fmla="*/ 0 w 104775"/>
              <a:gd name="connsiteY1" fmla="*/ 0 h 85725"/>
            </a:gdLst>
            <a:ahLst/>
            <a:cxnLst>
              <a:cxn ang="0">
                <a:pos x="connsiteX0" y="connsiteY0"/>
              </a:cxn>
              <a:cxn ang="0">
                <a:pos x="connsiteX1" y="connsiteY1"/>
              </a:cxn>
            </a:cxnLst>
            <a:rect l="l" t="t" r="r" b="b"/>
            <a:pathLst>
              <a:path w="104775" h="85725">
                <a:moveTo>
                  <a:pt x="104775" y="85725"/>
                </a:moveTo>
                <a:lnTo>
                  <a:pt x="0" y="0"/>
                </a:ln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sp>
        <p:nvSpPr>
          <p:cNvPr id="26" name="Freihandform 25"/>
          <p:cNvSpPr/>
          <p:nvPr/>
        </p:nvSpPr>
        <p:spPr>
          <a:xfrm>
            <a:off x="6361970" y="1193966"/>
            <a:ext cx="114300" cy="28575"/>
          </a:xfrm>
          <a:custGeom>
            <a:avLst/>
            <a:gdLst>
              <a:gd name="connsiteX0" fmla="*/ 0 w 123825"/>
              <a:gd name="connsiteY0" fmla="*/ 38100 h 38100"/>
              <a:gd name="connsiteX1" fmla="*/ 123825 w 123825"/>
              <a:gd name="connsiteY1" fmla="*/ 0 h 38100"/>
            </a:gdLst>
            <a:ahLst/>
            <a:cxnLst>
              <a:cxn ang="0">
                <a:pos x="connsiteX0" y="connsiteY0"/>
              </a:cxn>
              <a:cxn ang="0">
                <a:pos x="connsiteX1" y="connsiteY1"/>
              </a:cxn>
            </a:cxnLst>
            <a:rect l="l" t="t" r="r" b="b"/>
            <a:pathLst>
              <a:path w="123825" h="38100">
                <a:moveTo>
                  <a:pt x="0" y="38100"/>
                </a:moveTo>
                <a:lnTo>
                  <a:pt x="123825" y="0"/>
                </a:lnTo>
              </a:path>
            </a:pathLst>
          </a:cu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sp>
        <p:nvSpPr>
          <p:cNvPr id="15" name="Freihandform 14"/>
          <p:cNvSpPr/>
          <p:nvPr/>
        </p:nvSpPr>
        <p:spPr>
          <a:xfrm>
            <a:off x="4216646" y="1157290"/>
            <a:ext cx="395654" cy="1307306"/>
          </a:xfrm>
          <a:custGeom>
            <a:avLst/>
            <a:gdLst>
              <a:gd name="connsiteX0" fmla="*/ 19050 w 428625"/>
              <a:gd name="connsiteY0" fmla="*/ 0 h 1743075"/>
              <a:gd name="connsiteX1" fmla="*/ 323850 w 428625"/>
              <a:gd name="connsiteY1" fmla="*/ 704850 h 1743075"/>
              <a:gd name="connsiteX2" fmla="*/ 0 w 428625"/>
              <a:gd name="connsiteY2" fmla="*/ 714375 h 1743075"/>
              <a:gd name="connsiteX3" fmla="*/ 428625 w 428625"/>
              <a:gd name="connsiteY3" fmla="*/ 1743075 h 1743075"/>
            </a:gdLst>
            <a:ahLst/>
            <a:cxnLst>
              <a:cxn ang="0">
                <a:pos x="connsiteX0" y="connsiteY0"/>
              </a:cxn>
              <a:cxn ang="0">
                <a:pos x="connsiteX1" y="connsiteY1"/>
              </a:cxn>
              <a:cxn ang="0">
                <a:pos x="connsiteX2" y="connsiteY2"/>
              </a:cxn>
              <a:cxn ang="0">
                <a:pos x="connsiteX3" y="connsiteY3"/>
              </a:cxn>
            </a:cxnLst>
            <a:rect l="l" t="t" r="r" b="b"/>
            <a:pathLst>
              <a:path w="428625" h="1743075">
                <a:moveTo>
                  <a:pt x="19050" y="0"/>
                </a:moveTo>
                <a:lnTo>
                  <a:pt x="323850" y="704850"/>
                </a:lnTo>
                <a:lnTo>
                  <a:pt x="0" y="714375"/>
                </a:lnTo>
                <a:lnTo>
                  <a:pt x="428625" y="1743075"/>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7907" tIns="38953" rIns="77907" bIns="38953" rtlCol="0" anchor="ctr"/>
          <a:lstStyle/>
          <a:p>
            <a:pPr algn="ctr"/>
            <a:endParaRPr lang="de-DE"/>
          </a:p>
        </p:txBody>
      </p:sp>
      <p:grpSp>
        <p:nvGrpSpPr>
          <p:cNvPr id="27" name="Gruppieren 26"/>
          <p:cNvGrpSpPr/>
          <p:nvPr/>
        </p:nvGrpSpPr>
        <p:grpSpPr>
          <a:xfrm>
            <a:off x="283148" y="4497779"/>
            <a:ext cx="8391196" cy="495702"/>
            <a:chOff x="357172" y="5997039"/>
            <a:chExt cx="8892640" cy="660936"/>
          </a:xfrm>
        </p:grpSpPr>
        <p:sp>
          <p:nvSpPr>
            <p:cNvPr id="29" name="Rechteck 28"/>
            <p:cNvSpPr/>
            <p:nvPr/>
          </p:nvSpPr>
          <p:spPr>
            <a:xfrm>
              <a:off x="397977" y="5997039"/>
              <a:ext cx="8684117" cy="660936"/>
            </a:xfrm>
            <a:prstGeom prst="rect">
              <a:avLst/>
            </a:prstGeom>
            <a:solidFill>
              <a:schemeClr val="bg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000" dirty="0">
                <a:solidFill>
                  <a:schemeClr val="tx2"/>
                </a:solidFill>
              </a:endParaRPr>
            </a:p>
          </p:txBody>
        </p:sp>
        <p:sp>
          <p:nvSpPr>
            <p:cNvPr id="30" name="Inhaltsplatzhalter 8"/>
            <p:cNvSpPr txBox="1">
              <a:spLocks/>
            </p:cNvSpPr>
            <p:nvPr/>
          </p:nvSpPr>
          <p:spPr>
            <a:xfrm>
              <a:off x="357172" y="6201468"/>
              <a:ext cx="8892640" cy="287259"/>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400" b="1" dirty="0"/>
                <a:t>The paywall is the primary roadblock to </a:t>
              </a:r>
              <a:r>
                <a:rPr lang="en-US" sz="1400" b="1" dirty="0" smtClean="0"/>
                <a:t>openness</a:t>
              </a:r>
              <a:r>
                <a:rPr lang="en-US" sz="1400" b="1" dirty="0"/>
                <a:t>, innovation and sustainability.</a:t>
              </a:r>
            </a:p>
          </p:txBody>
        </p:sp>
      </p:grpSp>
    </p:spTree>
    <p:extLst>
      <p:ext uri="{BB962C8B-B14F-4D97-AF65-F5344CB8AC3E}">
        <p14:creationId xmlns:p14="http://schemas.microsoft.com/office/powerpoint/2010/main" val="2367914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Pfeil nach rechts 37"/>
          <p:cNvSpPr/>
          <p:nvPr/>
        </p:nvSpPr>
        <p:spPr>
          <a:xfrm>
            <a:off x="3196101" y="1873157"/>
            <a:ext cx="5725101" cy="1022523"/>
          </a:xfrm>
          <a:prstGeom prst="rightArrow">
            <a:avLst>
              <a:gd name="adj1" fmla="val 100000"/>
              <a:gd name="adj2" fmla="val 22343"/>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7" name="Pfeil nach rechts 36"/>
          <p:cNvSpPr/>
          <p:nvPr/>
        </p:nvSpPr>
        <p:spPr>
          <a:xfrm>
            <a:off x="275280" y="1873157"/>
            <a:ext cx="2844479" cy="1022523"/>
          </a:xfrm>
          <a:prstGeom prst="rightArrow">
            <a:avLst>
              <a:gd name="adj1" fmla="val 100000"/>
              <a:gd name="adj2" fmla="val 22343"/>
            </a:avLst>
          </a:prstGeom>
          <a:solidFill>
            <a:schemeClr val="bg2"/>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6" name="Pfeil nach rechts 35"/>
          <p:cNvSpPr/>
          <p:nvPr/>
        </p:nvSpPr>
        <p:spPr>
          <a:xfrm>
            <a:off x="3191543" y="1110240"/>
            <a:ext cx="2832487" cy="334309"/>
          </a:xfrm>
          <a:prstGeom prst="rightArrow">
            <a:avLst>
              <a:gd name="adj1" fmla="val 100000"/>
              <a:gd name="adj2" fmla="val 2863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4" name="Pfeil nach rechts 33"/>
          <p:cNvSpPr/>
          <p:nvPr/>
        </p:nvSpPr>
        <p:spPr>
          <a:xfrm>
            <a:off x="3182748" y="1106832"/>
            <a:ext cx="2832487" cy="334309"/>
          </a:xfrm>
          <a:prstGeom prst="rightArrow">
            <a:avLst>
              <a:gd name="adj1" fmla="val 100000"/>
              <a:gd name="adj2" fmla="val 2863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35" name="Pfeil nach rechts 34"/>
          <p:cNvSpPr/>
          <p:nvPr/>
        </p:nvSpPr>
        <p:spPr>
          <a:xfrm>
            <a:off x="6088715" y="1110240"/>
            <a:ext cx="2832487" cy="334309"/>
          </a:xfrm>
          <a:prstGeom prst="rightArrow">
            <a:avLst>
              <a:gd name="adj1" fmla="val 100000"/>
              <a:gd name="adj2" fmla="val 2863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 name="Pfeil nach rechts 1"/>
          <p:cNvSpPr/>
          <p:nvPr/>
        </p:nvSpPr>
        <p:spPr>
          <a:xfrm>
            <a:off x="287270" y="1100004"/>
            <a:ext cx="2832487" cy="334309"/>
          </a:xfrm>
          <a:prstGeom prst="rightArrow">
            <a:avLst>
              <a:gd name="adj1" fmla="val 100000"/>
              <a:gd name="adj2" fmla="val 2863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cxnSp>
        <p:nvCxnSpPr>
          <p:cNvPr id="116" name="Gerade Verbindung mit Pfeil 115"/>
          <p:cNvCxnSpPr/>
          <p:nvPr/>
        </p:nvCxnSpPr>
        <p:spPr>
          <a:xfrm>
            <a:off x="283076" y="1510344"/>
            <a:ext cx="8580884" cy="0"/>
          </a:xfrm>
          <a:prstGeom prst="straightConnector1">
            <a:avLst/>
          </a:prstGeom>
          <a:ln w="222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6" name="Textplatzhalter 75"/>
          <p:cNvSpPr>
            <a:spLocks noGrp="1"/>
          </p:cNvSpPr>
          <p:nvPr>
            <p:ph type="body" sz="quarter" idx="13"/>
          </p:nvPr>
        </p:nvSpPr>
        <p:spPr>
          <a:xfrm>
            <a:off x="279085" y="319711"/>
            <a:ext cx="6623160" cy="523253"/>
          </a:xfrm>
        </p:spPr>
        <p:txBody>
          <a:bodyPr/>
          <a:lstStyle/>
          <a:p>
            <a:r>
              <a:rPr lang="en-US" dirty="0" smtClean="0"/>
              <a:t>Characteristics of the paywall system</a:t>
            </a:r>
            <a:endParaRPr lang="en-US" dirty="0"/>
          </a:p>
        </p:txBody>
      </p:sp>
      <p:sp>
        <p:nvSpPr>
          <p:cNvPr id="120" name="Titel 1"/>
          <p:cNvSpPr txBox="1">
            <a:spLocks/>
          </p:cNvSpPr>
          <p:nvPr/>
        </p:nvSpPr>
        <p:spPr>
          <a:xfrm>
            <a:off x="283576" y="1562527"/>
            <a:ext cx="1845118" cy="153888"/>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r>
              <a:rPr lang="en-US" sz="1000" dirty="0"/>
              <a:t>Publication continuum</a:t>
            </a:r>
          </a:p>
        </p:txBody>
      </p:sp>
      <p:sp>
        <p:nvSpPr>
          <p:cNvPr id="123" name="Rectangle 2"/>
          <p:cNvSpPr/>
          <p:nvPr/>
        </p:nvSpPr>
        <p:spPr>
          <a:xfrm>
            <a:off x="362207" y="1071809"/>
            <a:ext cx="2558769" cy="392415"/>
          </a:xfrm>
          <a:prstGeom prst="rect">
            <a:avLst/>
          </a:prstGeom>
          <a:noFill/>
        </p:spPr>
        <p:txBody>
          <a:bodyPr wrap="square" lIns="0" tIns="0" rIns="0" bIns="0" anchor="ctr" anchorCtr="0">
            <a:spAutoFit/>
          </a:bodyPr>
          <a:lstStyle/>
          <a:p>
            <a:pPr algn="ctr">
              <a:lnSpc>
                <a:spcPct val="150000"/>
              </a:lnSpc>
            </a:pPr>
            <a:r>
              <a:rPr lang="en-US" sz="1700" b="1" i="1" dirty="0">
                <a:solidFill>
                  <a:schemeClr val="accent6"/>
                </a:solidFill>
              </a:rPr>
              <a:t>Pre-publishing</a:t>
            </a:r>
          </a:p>
        </p:txBody>
      </p:sp>
      <p:sp>
        <p:nvSpPr>
          <p:cNvPr id="125" name="Rectangle 2"/>
          <p:cNvSpPr/>
          <p:nvPr/>
        </p:nvSpPr>
        <p:spPr>
          <a:xfrm>
            <a:off x="3297048" y="1073513"/>
            <a:ext cx="2558769" cy="392415"/>
          </a:xfrm>
          <a:prstGeom prst="rect">
            <a:avLst/>
          </a:prstGeom>
          <a:noFill/>
        </p:spPr>
        <p:txBody>
          <a:bodyPr wrap="square" lIns="0" tIns="0" rIns="0" bIns="0" anchor="ctr" anchorCtr="0">
            <a:spAutoFit/>
          </a:bodyPr>
          <a:lstStyle/>
          <a:p>
            <a:pPr algn="ctr">
              <a:lnSpc>
                <a:spcPct val="150000"/>
              </a:lnSpc>
            </a:pPr>
            <a:r>
              <a:rPr lang="en-US" sz="1700" b="1" i="1" dirty="0">
                <a:solidFill>
                  <a:schemeClr val="accent6"/>
                </a:solidFill>
              </a:rPr>
              <a:t>Publishing</a:t>
            </a:r>
          </a:p>
        </p:txBody>
      </p:sp>
      <p:sp>
        <p:nvSpPr>
          <p:cNvPr id="126" name="Rectangle 2"/>
          <p:cNvSpPr/>
          <p:nvPr/>
        </p:nvSpPr>
        <p:spPr>
          <a:xfrm>
            <a:off x="6165359" y="1075217"/>
            <a:ext cx="2558769" cy="392415"/>
          </a:xfrm>
          <a:prstGeom prst="rect">
            <a:avLst/>
          </a:prstGeom>
          <a:noFill/>
        </p:spPr>
        <p:txBody>
          <a:bodyPr wrap="square" lIns="0" tIns="0" rIns="0" bIns="0" anchor="ctr" anchorCtr="0">
            <a:spAutoFit/>
          </a:bodyPr>
          <a:lstStyle/>
          <a:p>
            <a:pPr algn="ctr">
              <a:lnSpc>
                <a:spcPct val="150000"/>
              </a:lnSpc>
            </a:pPr>
            <a:r>
              <a:rPr lang="en-US" sz="1700" b="1" i="1" dirty="0">
                <a:solidFill>
                  <a:schemeClr val="accent6"/>
                </a:solidFill>
              </a:rPr>
              <a:t>Post-publishing</a:t>
            </a:r>
          </a:p>
        </p:txBody>
      </p:sp>
      <p:sp>
        <p:nvSpPr>
          <p:cNvPr id="149" name="Titel 1"/>
          <p:cNvSpPr txBox="1">
            <a:spLocks/>
          </p:cNvSpPr>
          <p:nvPr/>
        </p:nvSpPr>
        <p:spPr>
          <a:xfrm>
            <a:off x="5275486" y="2070915"/>
            <a:ext cx="1593158" cy="738664"/>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r>
              <a:rPr lang="en-US" sz="1200" dirty="0">
                <a:solidFill>
                  <a:schemeClr val="bg1"/>
                </a:solidFill>
              </a:rPr>
              <a:t>closed system </a:t>
            </a:r>
          </a:p>
          <a:p>
            <a:pPr algn="l"/>
            <a:r>
              <a:rPr lang="en-US" sz="1200" dirty="0">
                <a:solidFill>
                  <a:schemeClr val="bg1"/>
                </a:solidFill>
              </a:rPr>
              <a:t>hindering use, </a:t>
            </a:r>
            <a:br>
              <a:rPr lang="en-US" sz="1200" dirty="0">
                <a:solidFill>
                  <a:schemeClr val="bg1"/>
                </a:solidFill>
              </a:rPr>
            </a:br>
            <a:r>
              <a:rPr lang="en-US" sz="1200" dirty="0">
                <a:solidFill>
                  <a:schemeClr val="bg1"/>
                </a:solidFill>
              </a:rPr>
              <a:t>reuse and </a:t>
            </a:r>
            <a:br>
              <a:rPr lang="en-US" sz="1200" dirty="0">
                <a:solidFill>
                  <a:schemeClr val="bg1"/>
                </a:solidFill>
              </a:rPr>
            </a:br>
            <a:r>
              <a:rPr lang="en-US" sz="1200" dirty="0">
                <a:solidFill>
                  <a:schemeClr val="bg1"/>
                </a:solidFill>
              </a:rPr>
              <a:t>interoperability</a:t>
            </a:r>
          </a:p>
        </p:txBody>
      </p:sp>
      <p:pic>
        <p:nvPicPr>
          <p:cNvPr id="11" name="Grafik 10"/>
          <p:cNvPicPr>
            <a:picLocks noChangeAspect="1"/>
          </p:cNvPicPr>
          <p:nvPr/>
        </p:nvPicPr>
        <p:blipFill>
          <a:blip r:embed="rId3"/>
          <a:stretch>
            <a:fillRect/>
          </a:stretch>
        </p:blipFill>
        <p:spPr>
          <a:xfrm>
            <a:off x="4519981" y="2568180"/>
            <a:ext cx="8792" cy="7144"/>
          </a:xfrm>
          <a:prstGeom prst="rect">
            <a:avLst/>
          </a:prstGeom>
        </p:spPr>
      </p:pic>
      <p:sp>
        <p:nvSpPr>
          <p:cNvPr id="153" name="Rechteck 152"/>
          <p:cNvSpPr/>
          <p:nvPr/>
        </p:nvSpPr>
        <p:spPr>
          <a:xfrm>
            <a:off x="287270" y="1874861"/>
            <a:ext cx="2558769" cy="10338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en-US" sz="1000" dirty="0">
              <a:solidFill>
                <a:schemeClr val="tx1"/>
              </a:solidFill>
            </a:endParaRPr>
          </a:p>
        </p:txBody>
      </p:sp>
      <p:sp>
        <p:nvSpPr>
          <p:cNvPr id="154" name="Textfeld 153"/>
          <p:cNvSpPr txBox="1"/>
          <p:nvPr/>
        </p:nvSpPr>
        <p:spPr>
          <a:xfrm>
            <a:off x="445859" y="2087902"/>
            <a:ext cx="2164683" cy="724998"/>
          </a:xfrm>
          <a:prstGeom prst="rect">
            <a:avLst/>
          </a:prstGeom>
          <a:noFill/>
          <a:ln w="12700">
            <a:noFill/>
          </a:ln>
        </p:spPr>
        <p:txBody>
          <a:bodyPr wrap="square" lIns="77907" tIns="38953" rIns="77907" bIns="38953" rtlCol="0">
            <a:spAutoFit/>
          </a:bodyPr>
          <a:lstStyle/>
          <a:p>
            <a:r>
              <a:rPr lang="en-US" sz="1400" b="1" dirty="0">
                <a:solidFill>
                  <a:schemeClr val="accent6"/>
                </a:solidFill>
              </a:rPr>
              <a:t>Submission layer &amp; </a:t>
            </a:r>
          </a:p>
          <a:p>
            <a:r>
              <a:rPr lang="en-US" sz="1400" b="1" dirty="0">
                <a:solidFill>
                  <a:schemeClr val="accent6"/>
                </a:solidFill>
              </a:rPr>
              <a:t>Publication support services</a:t>
            </a:r>
          </a:p>
        </p:txBody>
      </p:sp>
      <p:pic>
        <p:nvPicPr>
          <p:cNvPr id="41" name="Grafik 4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5788" y="2908679"/>
            <a:ext cx="1188171" cy="742607"/>
          </a:xfrm>
          <a:prstGeom prst="rect">
            <a:avLst/>
          </a:prstGeom>
        </p:spPr>
      </p:pic>
      <p:pic>
        <p:nvPicPr>
          <p:cNvPr id="42" name="Grafik 4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11929" y="2030751"/>
            <a:ext cx="721677" cy="721677"/>
          </a:xfrm>
          <a:prstGeom prst="rect">
            <a:avLst/>
          </a:prstGeom>
        </p:spPr>
      </p:pic>
      <p:pic>
        <p:nvPicPr>
          <p:cNvPr id="43" name="Grafik 42"/>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512839" y="4441739"/>
            <a:ext cx="1211289" cy="726773"/>
          </a:xfrm>
          <a:prstGeom prst="rect">
            <a:avLst/>
          </a:prstGeom>
        </p:spPr>
      </p:pic>
      <p:pic>
        <p:nvPicPr>
          <p:cNvPr id="44" name="Grafik 43"/>
          <p:cNvPicPr>
            <a:picLocks noChangeAspect="1"/>
          </p:cNvPicPr>
          <p:nvPr/>
        </p:nvPicPr>
        <p:blipFill>
          <a:blip r:embed="rId7"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6907557" y="1905000"/>
            <a:ext cx="1016402" cy="1016402"/>
          </a:xfrm>
          <a:prstGeom prst="rect">
            <a:avLst/>
          </a:prstGeom>
        </p:spPr>
      </p:pic>
      <p:grpSp>
        <p:nvGrpSpPr>
          <p:cNvPr id="5" name="Gruppieren 4"/>
          <p:cNvGrpSpPr/>
          <p:nvPr/>
        </p:nvGrpSpPr>
        <p:grpSpPr>
          <a:xfrm>
            <a:off x="3102210" y="3965353"/>
            <a:ext cx="1851338" cy="701736"/>
            <a:chOff x="3065602" y="5695667"/>
            <a:chExt cx="2424201" cy="793394"/>
          </a:xfrm>
        </p:grpSpPr>
        <p:sp>
          <p:nvSpPr>
            <p:cNvPr id="46" name="Textfeld 45"/>
            <p:cNvSpPr txBox="1"/>
            <p:nvPr/>
          </p:nvSpPr>
          <p:spPr>
            <a:xfrm>
              <a:off x="3065602" y="5695667"/>
              <a:ext cx="1664894" cy="793394"/>
            </a:xfrm>
            <a:prstGeom prst="rect">
              <a:avLst/>
            </a:prstGeom>
            <a:noFill/>
            <a:ln w="12700">
              <a:noFill/>
            </a:ln>
          </p:spPr>
          <p:txBody>
            <a:bodyPr wrap="square" rtlCol="0">
              <a:spAutoFit/>
            </a:bodyPr>
            <a:lstStyle/>
            <a:p>
              <a:r>
                <a:rPr lang="en-US" sz="1600" b="1" i="1" dirty="0" smtClean="0">
                  <a:solidFill>
                    <a:schemeClr val="accent6"/>
                  </a:solidFill>
                </a:rPr>
                <a:t>$10bn</a:t>
              </a:r>
            </a:p>
            <a:p>
              <a:r>
                <a:rPr lang="en-US" sz="1600" b="1" i="1" dirty="0" smtClean="0">
                  <a:solidFill>
                    <a:schemeClr val="accent6"/>
                  </a:solidFill>
                </a:rPr>
                <a:t>cash flow</a:t>
              </a:r>
              <a:endParaRPr lang="en-US" sz="1600" b="1" i="1" dirty="0">
                <a:solidFill>
                  <a:schemeClr val="accent6"/>
                </a:solidFill>
              </a:endParaRPr>
            </a:p>
          </p:txBody>
        </p:sp>
        <p:grpSp>
          <p:nvGrpSpPr>
            <p:cNvPr id="47" name="Gruppieren 46"/>
            <p:cNvGrpSpPr/>
            <p:nvPr/>
          </p:nvGrpSpPr>
          <p:grpSpPr>
            <a:xfrm>
              <a:off x="4289548" y="5857891"/>
              <a:ext cx="1200255" cy="395587"/>
              <a:chOff x="4449686" y="4725634"/>
              <a:chExt cx="2083481" cy="800938"/>
            </a:xfrm>
          </p:grpSpPr>
          <p:pic>
            <p:nvPicPr>
              <p:cNvPr id="48" name="Grafik 4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54404" y="4725634"/>
                <a:ext cx="1378763" cy="730185"/>
              </a:xfrm>
              <a:prstGeom prst="rect">
                <a:avLst/>
              </a:prstGeom>
              <a:effectLst>
                <a:outerShdw blurRad="50800" dist="38100" dir="2700000" algn="tl" rotWithShape="0">
                  <a:prstClr val="black">
                    <a:alpha val="40000"/>
                  </a:prstClr>
                </a:outerShdw>
              </a:effectLst>
            </p:spPr>
          </p:pic>
          <p:pic>
            <p:nvPicPr>
              <p:cNvPr id="49" name="Grafik 4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21072779">
                <a:off x="4449686" y="4796387"/>
                <a:ext cx="1378763" cy="730185"/>
              </a:xfrm>
              <a:prstGeom prst="rect">
                <a:avLst/>
              </a:prstGeom>
              <a:effectLst>
                <a:outerShdw blurRad="50800" dist="38100" dir="2700000" algn="tl" rotWithShape="0">
                  <a:prstClr val="black">
                    <a:alpha val="40000"/>
                  </a:prstClr>
                </a:outerShdw>
              </a:effectLst>
            </p:spPr>
          </p:pic>
        </p:grpSp>
      </p:grpSp>
      <p:pic>
        <p:nvPicPr>
          <p:cNvPr id="50" name="Grafik 4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75217" y="4027708"/>
            <a:ext cx="1254894" cy="495265"/>
          </a:xfrm>
          <a:prstGeom prst="rect">
            <a:avLst/>
          </a:prstGeom>
        </p:spPr>
      </p:pic>
      <p:pic>
        <p:nvPicPr>
          <p:cNvPr id="51" name="Grafik 5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169407" y="3080044"/>
            <a:ext cx="1798459" cy="742057"/>
          </a:xfrm>
          <a:prstGeom prst="rect">
            <a:avLst/>
          </a:prstGeom>
        </p:spPr>
      </p:pic>
      <p:pic>
        <p:nvPicPr>
          <p:cNvPr id="52" name="Grafik 5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2043" y="3257241"/>
            <a:ext cx="1111547" cy="1111547"/>
          </a:xfrm>
          <a:prstGeom prst="rect">
            <a:avLst/>
          </a:prstGeom>
        </p:spPr>
      </p:pic>
      <p:pic>
        <p:nvPicPr>
          <p:cNvPr id="53" name="Grafik 5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4748" y="3102512"/>
            <a:ext cx="1357998" cy="401308"/>
          </a:xfrm>
          <a:prstGeom prst="rect">
            <a:avLst/>
          </a:prstGeom>
        </p:spPr>
      </p:pic>
      <p:pic>
        <p:nvPicPr>
          <p:cNvPr id="54" name="Grafik 5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24748" y="4037320"/>
            <a:ext cx="948464" cy="357255"/>
          </a:xfrm>
          <a:prstGeom prst="rect">
            <a:avLst/>
          </a:prstGeom>
        </p:spPr>
      </p:pic>
      <p:pic>
        <p:nvPicPr>
          <p:cNvPr id="55" name="Grafik 54"/>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37818" y="4423817"/>
            <a:ext cx="1320093" cy="459444"/>
          </a:xfrm>
          <a:prstGeom prst="rect">
            <a:avLst/>
          </a:prstGeom>
        </p:spPr>
      </p:pic>
      <p:pic>
        <p:nvPicPr>
          <p:cNvPr id="56" name="Grafik 55"/>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719952" y="3449866"/>
            <a:ext cx="1004889" cy="502445"/>
          </a:xfrm>
          <a:prstGeom prst="rect">
            <a:avLst/>
          </a:prstGeom>
        </p:spPr>
      </p:pic>
      <p:sp>
        <p:nvSpPr>
          <p:cNvPr id="57" name="Foliennummernplatzhalter 4"/>
          <p:cNvSpPr txBox="1">
            <a:spLocks/>
          </p:cNvSpPr>
          <p:nvPr/>
        </p:nvSpPr>
        <p:spPr>
          <a:xfrm>
            <a:off x="8244408" y="4994609"/>
            <a:ext cx="714380" cy="125373"/>
          </a:xfrm>
          <a:prstGeom prst="rect">
            <a:avLst/>
          </a:prstGeom>
        </p:spPr>
        <p:txBody>
          <a:bodyPr vert="horz" wrap="none" lIns="0" tIns="0" rIns="0" bIns="0" rtlCol="0" anchor="b"/>
          <a:lstStyle>
            <a:defPPr>
              <a:defRPr lang="de-DE"/>
            </a:defPPr>
            <a:lvl1pPr marL="0" algn="r" defTabSz="779074" rtl="0" eaLnBrk="1" latinLnBrk="0" hangingPunct="1">
              <a:defRPr sz="700" kern="1200">
                <a:solidFill>
                  <a:schemeClr val="tx1">
                    <a:tint val="75000"/>
                  </a:schemeClr>
                </a:solidFill>
                <a:latin typeface="+mn-lt"/>
                <a:ea typeface="+mn-ea"/>
                <a:cs typeface="+mn-cs"/>
              </a:defRPr>
            </a:lvl1pPr>
            <a:lvl2pPr marL="389538" algn="l" defTabSz="779074" rtl="0" eaLnBrk="1" latinLnBrk="0" hangingPunct="1">
              <a:defRPr sz="1500" kern="1200">
                <a:solidFill>
                  <a:schemeClr val="tx1"/>
                </a:solidFill>
                <a:latin typeface="+mn-lt"/>
                <a:ea typeface="+mn-ea"/>
                <a:cs typeface="+mn-cs"/>
              </a:defRPr>
            </a:lvl2pPr>
            <a:lvl3pPr marL="779074" algn="l" defTabSz="779074" rtl="0" eaLnBrk="1" latinLnBrk="0" hangingPunct="1">
              <a:defRPr sz="1500" kern="1200">
                <a:solidFill>
                  <a:schemeClr val="tx1"/>
                </a:solidFill>
                <a:latin typeface="+mn-lt"/>
                <a:ea typeface="+mn-ea"/>
                <a:cs typeface="+mn-cs"/>
              </a:defRPr>
            </a:lvl3pPr>
            <a:lvl4pPr marL="1168612" algn="l" defTabSz="779074" rtl="0" eaLnBrk="1" latinLnBrk="0" hangingPunct="1">
              <a:defRPr sz="1500" kern="1200">
                <a:solidFill>
                  <a:schemeClr val="tx1"/>
                </a:solidFill>
                <a:latin typeface="+mn-lt"/>
                <a:ea typeface="+mn-ea"/>
                <a:cs typeface="+mn-cs"/>
              </a:defRPr>
            </a:lvl4pPr>
            <a:lvl5pPr marL="1558149" algn="l" defTabSz="779074" rtl="0" eaLnBrk="1" latinLnBrk="0" hangingPunct="1">
              <a:defRPr sz="1500" kern="1200">
                <a:solidFill>
                  <a:schemeClr val="tx1"/>
                </a:solidFill>
                <a:latin typeface="+mn-lt"/>
                <a:ea typeface="+mn-ea"/>
                <a:cs typeface="+mn-cs"/>
              </a:defRPr>
            </a:lvl5pPr>
            <a:lvl6pPr marL="1947686" algn="l" defTabSz="779074" rtl="0" eaLnBrk="1" latinLnBrk="0" hangingPunct="1">
              <a:defRPr sz="1500" kern="1200">
                <a:solidFill>
                  <a:schemeClr val="tx1"/>
                </a:solidFill>
                <a:latin typeface="+mn-lt"/>
                <a:ea typeface="+mn-ea"/>
                <a:cs typeface="+mn-cs"/>
              </a:defRPr>
            </a:lvl6pPr>
            <a:lvl7pPr marL="2337223" algn="l" defTabSz="779074" rtl="0" eaLnBrk="1" latinLnBrk="0" hangingPunct="1">
              <a:defRPr sz="1500" kern="1200">
                <a:solidFill>
                  <a:schemeClr val="tx1"/>
                </a:solidFill>
                <a:latin typeface="+mn-lt"/>
                <a:ea typeface="+mn-ea"/>
                <a:cs typeface="+mn-cs"/>
              </a:defRPr>
            </a:lvl7pPr>
            <a:lvl8pPr marL="2726760" algn="l" defTabSz="779074" rtl="0" eaLnBrk="1" latinLnBrk="0" hangingPunct="1">
              <a:defRPr sz="1500" kern="1200">
                <a:solidFill>
                  <a:schemeClr val="tx1"/>
                </a:solidFill>
                <a:latin typeface="+mn-lt"/>
                <a:ea typeface="+mn-ea"/>
                <a:cs typeface="+mn-cs"/>
              </a:defRPr>
            </a:lvl8pPr>
            <a:lvl9pPr marL="3116298" algn="l" defTabSz="779074" rtl="0" eaLnBrk="1" latinLnBrk="0" hangingPunct="1">
              <a:defRPr sz="1500" kern="1200">
                <a:solidFill>
                  <a:schemeClr val="tx1"/>
                </a:solidFill>
                <a:latin typeface="+mn-lt"/>
                <a:ea typeface="+mn-ea"/>
                <a:cs typeface="+mn-cs"/>
              </a:defRPr>
            </a:lvl9pPr>
          </a:lstStyle>
          <a:p>
            <a:fld id="{4AD1E780-DE1C-4ECA-B5E5-863D0BC53287}" type="slidenum">
              <a:rPr lang="de-DE" smtClean="0"/>
              <a:pPr/>
              <a:t>15</a:t>
            </a:fld>
            <a:endParaRPr lang="de-DE" dirty="0"/>
          </a:p>
        </p:txBody>
      </p:sp>
    </p:spTree>
    <p:extLst>
      <p:ext uri="{BB962C8B-B14F-4D97-AF65-F5344CB8AC3E}">
        <p14:creationId xmlns:p14="http://schemas.microsoft.com/office/powerpoint/2010/main" val="40267006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4AD1E780-DE1C-4ECA-B5E5-863D0BC53287}" type="slidenum">
              <a:rPr lang="de-DE" smtClean="0"/>
              <a:pPr/>
              <a:t>16</a:t>
            </a:fld>
            <a:endParaRPr lang="de-DE" dirty="0"/>
          </a:p>
        </p:txBody>
      </p:sp>
      <p:sp>
        <p:nvSpPr>
          <p:cNvPr id="9" name="Textplatzhalter 8"/>
          <p:cNvSpPr>
            <a:spLocks noGrp="1"/>
          </p:cNvSpPr>
          <p:nvPr>
            <p:ph type="body" sz="quarter" idx="13"/>
          </p:nvPr>
        </p:nvSpPr>
        <p:spPr>
          <a:xfrm>
            <a:off x="279085" y="319726"/>
            <a:ext cx="6623160" cy="523253"/>
          </a:xfrm>
        </p:spPr>
        <p:txBody>
          <a:bodyPr/>
          <a:lstStyle/>
          <a:p>
            <a:r>
              <a:rPr lang="en-US" dirty="0" smtClean="0"/>
              <a:t>Relieving symptoms, but not curing the cause </a:t>
            </a:r>
            <a:endParaRPr lang="en-US" dirty="0"/>
          </a:p>
        </p:txBody>
      </p:sp>
      <p:sp>
        <p:nvSpPr>
          <p:cNvPr id="28" name="Textfeld 27"/>
          <p:cNvSpPr txBox="1"/>
          <p:nvPr/>
        </p:nvSpPr>
        <p:spPr>
          <a:xfrm>
            <a:off x="279085" y="3905851"/>
            <a:ext cx="8243902" cy="616329"/>
          </a:xfrm>
          <a:prstGeom prst="rect">
            <a:avLst/>
          </a:prstGeom>
          <a:solidFill>
            <a:schemeClr val="bg1"/>
          </a:solidFill>
          <a:ln w="12700">
            <a:solidFill>
              <a:schemeClr val="accent4"/>
            </a:solidFill>
          </a:ln>
        </p:spPr>
        <p:txBody>
          <a:bodyPr wrap="square" lIns="61344" tIns="61344" rIns="61344" bIns="61344" rtlCol="0">
            <a:spAutoFit/>
          </a:bodyPr>
          <a:lstStyle>
            <a:defPPr>
              <a:defRPr lang="de-DE"/>
            </a:defPPr>
            <a:lvl1pPr algn="ctr">
              <a:defRPr i="1">
                <a:solidFill>
                  <a:schemeClr val="bg1"/>
                </a:solidFill>
              </a:defRPr>
            </a:lvl1pPr>
          </a:lstStyle>
          <a:p>
            <a:r>
              <a:rPr lang="en-US" sz="1600" b="1" i="0" dirty="0">
                <a:solidFill>
                  <a:schemeClr val="tx2"/>
                </a:solidFill>
              </a:rPr>
              <a:t>Real innovation will come when energies can be focused </a:t>
            </a:r>
            <a:r>
              <a:rPr lang="en-US" sz="1600" b="1" i="0" dirty="0" smtClean="0">
                <a:solidFill>
                  <a:schemeClr val="tx2"/>
                </a:solidFill>
              </a:rPr>
              <a:t>on</a:t>
            </a:r>
          </a:p>
          <a:p>
            <a:r>
              <a:rPr lang="en-US" sz="1600" b="1" i="0" dirty="0" smtClean="0">
                <a:solidFill>
                  <a:schemeClr val="tx2"/>
                </a:solidFill>
              </a:rPr>
              <a:t>forward-looking </a:t>
            </a:r>
            <a:r>
              <a:rPr lang="en-US" sz="1600" b="1" i="0" dirty="0">
                <a:solidFill>
                  <a:schemeClr val="tx2"/>
                </a:solidFill>
              </a:rPr>
              <a:t>solutions in an open </a:t>
            </a:r>
            <a:r>
              <a:rPr lang="en-US" sz="1600" b="1" i="0" dirty="0" smtClean="0">
                <a:solidFill>
                  <a:schemeClr val="tx2"/>
                </a:solidFill>
              </a:rPr>
              <a:t>environment.</a:t>
            </a:r>
            <a:endParaRPr lang="en-US" sz="1600" b="1" i="0" dirty="0">
              <a:solidFill>
                <a:schemeClr val="tx2"/>
              </a:solidFill>
            </a:endParaRPr>
          </a:p>
        </p:txBody>
      </p: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6623" y="1044544"/>
            <a:ext cx="1360668" cy="655052"/>
          </a:xfrm>
          <a:prstGeom prst="rect">
            <a:avLst/>
          </a:prstGeom>
        </p:spPr>
      </p:pic>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40428" y="1044544"/>
            <a:ext cx="1442609" cy="868124"/>
          </a:xfrm>
          <a:prstGeom prst="rect">
            <a:avLst/>
          </a:prstGeom>
        </p:spPr>
      </p:pic>
      <p:sp>
        <p:nvSpPr>
          <p:cNvPr id="13" name="Titel 1"/>
          <p:cNvSpPr txBox="1">
            <a:spLocks/>
          </p:cNvSpPr>
          <p:nvPr/>
        </p:nvSpPr>
        <p:spPr>
          <a:xfrm>
            <a:off x="338291" y="1198283"/>
            <a:ext cx="4260516" cy="230832"/>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spcBef>
                <a:spcPts val="1023"/>
              </a:spcBef>
            </a:pPr>
            <a:r>
              <a:rPr lang="en-US" sz="1500" b="0" i="1" dirty="0" smtClean="0"/>
              <a:t>Just two examples of creative solutions:</a:t>
            </a:r>
            <a:endParaRPr lang="en-US" sz="1500" b="0" i="1" dirty="0"/>
          </a:p>
        </p:txBody>
      </p:sp>
      <p:sp>
        <p:nvSpPr>
          <p:cNvPr id="14" name="Textfeld 13"/>
          <p:cNvSpPr txBox="1"/>
          <p:nvPr/>
        </p:nvSpPr>
        <p:spPr>
          <a:xfrm>
            <a:off x="279085" y="2145762"/>
            <a:ext cx="8246835" cy="1400005"/>
          </a:xfrm>
          <a:prstGeom prst="rect">
            <a:avLst/>
          </a:prstGeom>
          <a:solidFill>
            <a:schemeClr val="bg1"/>
          </a:solidFill>
          <a:ln w="12700">
            <a:solidFill>
              <a:schemeClr val="accent4"/>
            </a:solidFill>
          </a:ln>
        </p:spPr>
        <p:txBody>
          <a:bodyPr wrap="square" lIns="153362" tIns="61344" rIns="61344" bIns="61344" rtlCol="0">
            <a:noAutofit/>
          </a:bodyPr>
          <a:lstStyle>
            <a:defPPr>
              <a:defRPr lang="de-DE"/>
            </a:defPPr>
            <a:lvl1pPr algn="ctr">
              <a:defRPr i="1">
                <a:solidFill>
                  <a:schemeClr val="bg1"/>
                </a:solidFill>
              </a:defRPr>
            </a:lvl1pPr>
          </a:lstStyle>
          <a:p>
            <a:pPr marL="243460" indent="-243460" algn="l">
              <a:spcAft>
                <a:spcPts val="511"/>
              </a:spcAft>
              <a:buFont typeface="Arial" panose="020B0604020202020204" pitchFamily="34" charset="0"/>
              <a:buChar char="•"/>
            </a:pPr>
            <a:r>
              <a:rPr lang="en-US" sz="1600" i="0" dirty="0" smtClean="0">
                <a:solidFill>
                  <a:schemeClr val="tx2"/>
                </a:solidFill>
              </a:rPr>
              <a:t>Innovators are limited to creating work-</a:t>
            </a:r>
            <a:r>
              <a:rPr lang="en-US" sz="1600" i="0" dirty="0" err="1" smtClean="0">
                <a:solidFill>
                  <a:schemeClr val="tx2"/>
                </a:solidFill>
              </a:rPr>
              <a:t>arounds</a:t>
            </a:r>
            <a:r>
              <a:rPr lang="en-US" sz="1600" i="0" dirty="0" smtClean="0">
                <a:solidFill>
                  <a:schemeClr val="tx2"/>
                </a:solidFill>
              </a:rPr>
              <a:t> </a:t>
            </a:r>
            <a:r>
              <a:rPr lang="en-US" sz="1600" i="0" dirty="0">
                <a:solidFill>
                  <a:schemeClr val="tx2"/>
                </a:solidFill>
              </a:rPr>
              <a:t>to the current access and </a:t>
            </a:r>
            <a:r>
              <a:rPr lang="en-US" sz="1600" i="0" dirty="0" smtClean="0">
                <a:solidFill>
                  <a:schemeClr val="tx2"/>
                </a:solidFill>
              </a:rPr>
              <a:t>copyright restrictions</a:t>
            </a:r>
            <a:endParaRPr lang="en-US" sz="1600" i="0" dirty="0">
              <a:solidFill>
                <a:schemeClr val="tx2"/>
              </a:solidFill>
            </a:endParaRPr>
          </a:p>
          <a:p>
            <a:pPr marL="243460" indent="-243460" algn="l">
              <a:spcAft>
                <a:spcPts val="511"/>
              </a:spcAft>
              <a:buFont typeface="Arial" panose="020B0604020202020204" pitchFamily="34" charset="0"/>
              <a:buChar char="•"/>
            </a:pPr>
            <a:r>
              <a:rPr lang="en-US" sz="1600" i="0" dirty="0" smtClean="0">
                <a:solidFill>
                  <a:schemeClr val="tx2"/>
                </a:solidFill>
              </a:rPr>
              <a:t>Expend </a:t>
            </a:r>
            <a:r>
              <a:rPr lang="en-US" sz="1600" i="0" dirty="0">
                <a:solidFill>
                  <a:schemeClr val="tx2"/>
                </a:solidFill>
              </a:rPr>
              <a:t>enormous effort </a:t>
            </a:r>
            <a:r>
              <a:rPr lang="en-US" sz="1600" i="0" dirty="0" smtClean="0">
                <a:solidFill>
                  <a:schemeClr val="tx2"/>
                </a:solidFill>
              </a:rPr>
              <a:t>on “patches” that </a:t>
            </a:r>
            <a:r>
              <a:rPr lang="en-US" sz="1600" i="0" dirty="0">
                <a:solidFill>
                  <a:schemeClr val="tx2"/>
                </a:solidFill>
              </a:rPr>
              <a:t>grow in </a:t>
            </a:r>
            <a:r>
              <a:rPr lang="en-US" sz="1600" i="0" dirty="0" smtClean="0">
                <a:solidFill>
                  <a:schemeClr val="tx2"/>
                </a:solidFill>
              </a:rPr>
              <a:t>complexity</a:t>
            </a:r>
          </a:p>
          <a:p>
            <a:pPr marL="243460" indent="-243460" algn="l">
              <a:spcAft>
                <a:spcPts val="511"/>
              </a:spcAft>
              <a:buFont typeface="Arial" panose="020B0604020202020204" pitchFamily="34" charset="0"/>
              <a:buChar char="•"/>
            </a:pPr>
            <a:r>
              <a:rPr lang="en-US" sz="1600" i="0" dirty="0" smtClean="0">
                <a:solidFill>
                  <a:schemeClr val="tx2"/>
                </a:solidFill>
              </a:rPr>
              <a:t>Can relieve </a:t>
            </a:r>
            <a:r>
              <a:rPr lang="en-US" sz="1600" i="0" dirty="0">
                <a:solidFill>
                  <a:schemeClr val="tx2"/>
                </a:solidFill>
              </a:rPr>
              <a:t>the </a:t>
            </a:r>
            <a:r>
              <a:rPr lang="en-US" sz="1600" i="0" dirty="0" smtClean="0">
                <a:solidFill>
                  <a:schemeClr val="tx2"/>
                </a:solidFill>
              </a:rPr>
              <a:t>symptoms somewhat; </a:t>
            </a:r>
            <a:r>
              <a:rPr lang="en-US" sz="1600" i="0" dirty="0">
                <a:solidFill>
                  <a:schemeClr val="tx2"/>
                </a:solidFill>
              </a:rPr>
              <a:t>but they cannot provide a cure for the disease</a:t>
            </a:r>
          </a:p>
          <a:p>
            <a:pPr marL="243460" indent="-243460" algn="l">
              <a:spcAft>
                <a:spcPts val="511"/>
              </a:spcAft>
              <a:buFont typeface="Arial" panose="020B0604020202020204" pitchFamily="34" charset="0"/>
              <a:buChar char="•"/>
            </a:pPr>
            <a:endParaRPr lang="en-US" sz="1600" i="0" dirty="0">
              <a:solidFill>
                <a:schemeClr val="tx2"/>
              </a:solidFill>
            </a:endParaRPr>
          </a:p>
          <a:p>
            <a:pPr marL="243460" indent="-243460" algn="l">
              <a:spcAft>
                <a:spcPts val="511"/>
              </a:spcAft>
              <a:buFont typeface="Arial" panose="020B0604020202020204" pitchFamily="34" charset="0"/>
              <a:buChar char="•"/>
            </a:pPr>
            <a:endParaRPr lang="en-US" sz="800" i="0" dirty="0">
              <a:solidFill>
                <a:schemeClr val="tx2"/>
              </a:solidFill>
            </a:endParaRPr>
          </a:p>
        </p:txBody>
      </p:sp>
    </p:spTree>
    <p:extLst>
      <p:ext uri="{BB962C8B-B14F-4D97-AF65-F5344CB8AC3E}">
        <p14:creationId xmlns:p14="http://schemas.microsoft.com/office/powerpoint/2010/main" val="1667589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4AD1E780-DE1C-4ECA-B5E5-863D0BC53287}" type="slidenum">
              <a:rPr lang="de-DE" smtClean="0"/>
              <a:pPr/>
              <a:t>17</a:t>
            </a:fld>
            <a:endParaRPr lang="de-DE" dirty="0"/>
          </a:p>
        </p:txBody>
      </p:sp>
      <p:sp>
        <p:nvSpPr>
          <p:cNvPr id="9" name="Textplatzhalter 8"/>
          <p:cNvSpPr>
            <a:spLocks noGrp="1"/>
          </p:cNvSpPr>
          <p:nvPr>
            <p:ph type="body" sz="quarter" idx="13"/>
          </p:nvPr>
        </p:nvSpPr>
        <p:spPr/>
        <p:txBody>
          <a:bodyPr/>
          <a:lstStyle/>
          <a:p>
            <a:r>
              <a:rPr lang="en-US" dirty="0" smtClean="0"/>
              <a:t>The evil twins: </a:t>
            </a:r>
            <a:r>
              <a:rPr lang="en-US" dirty="0" err="1" smtClean="0"/>
              <a:t>SciHub</a:t>
            </a:r>
            <a:r>
              <a:rPr lang="en-US" dirty="0" smtClean="0"/>
              <a:t> and RA21</a:t>
            </a:r>
            <a:endParaRPr lang="en-US" dirty="0"/>
          </a:p>
        </p:txBody>
      </p:sp>
      <p:sp>
        <p:nvSpPr>
          <p:cNvPr id="3" name="Rechteck 2"/>
          <p:cNvSpPr/>
          <p:nvPr/>
        </p:nvSpPr>
        <p:spPr>
          <a:xfrm>
            <a:off x="294478" y="1789044"/>
            <a:ext cx="3896521" cy="236385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0" name="Rechteck 19"/>
          <p:cNvSpPr/>
          <p:nvPr/>
        </p:nvSpPr>
        <p:spPr>
          <a:xfrm>
            <a:off x="4383979" y="1789044"/>
            <a:ext cx="4095759" cy="2363856"/>
          </a:xfrm>
          <a:prstGeom prst="rect">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2" name="Inhaltsplatzhalter 8"/>
          <p:cNvSpPr txBox="1">
            <a:spLocks/>
          </p:cNvSpPr>
          <p:nvPr/>
        </p:nvSpPr>
        <p:spPr>
          <a:xfrm>
            <a:off x="614665" y="1873279"/>
            <a:ext cx="3261946" cy="1777410"/>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53" indent="-292153">
              <a:spcAft>
                <a:spcPts val="511"/>
              </a:spcAft>
              <a:buClr>
                <a:schemeClr val="accent6"/>
              </a:buClr>
              <a:buFont typeface="Symbol" panose="05050102010706020507" pitchFamily="18" charset="2"/>
              <a:buChar char="-"/>
            </a:pPr>
            <a:r>
              <a:rPr lang="en-US" sz="1400" dirty="0"/>
              <a:t>Expression of end-user frustration</a:t>
            </a:r>
          </a:p>
          <a:p>
            <a:pPr marL="292153" indent="-292153">
              <a:spcAft>
                <a:spcPts val="511"/>
              </a:spcAft>
              <a:buClr>
                <a:schemeClr val="accent6"/>
              </a:buClr>
              <a:buFont typeface="Symbol" panose="05050102010706020507" pitchFamily="18" charset="2"/>
              <a:buChar char="-"/>
            </a:pPr>
            <a:r>
              <a:rPr lang="en-US" sz="1400" dirty="0"/>
              <a:t>Essentially tied to the paywall system</a:t>
            </a:r>
          </a:p>
          <a:p>
            <a:pPr marL="292153" indent="-292153">
              <a:spcAft>
                <a:spcPts val="511"/>
              </a:spcAft>
              <a:buClr>
                <a:schemeClr val="accent6"/>
              </a:buClr>
              <a:buFont typeface="Symbol" panose="05050102010706020507" pitchFamily="18" charset="2"/>
              <a:buChar char="-"/>
            </a:pPr>
            <a:r>
              <a:rPr lang="en-US" sz="1400" dirty="0"/>
              <a:t>Symptomatic of a dysfunctional and decaying system</a:t>
            </a:r>
          </a:p>
          <a:p>
            <a:pPr marL="292153" indent="-292153">
              <a:spcAft>
                <a:spcPts val="511"/>
              </a:spcAft>
              <a:buClr>
                <a:schemeClr val="accent6"/>
              </a:buClr>
              <a:buFont typeface="Symbol" panose="05050102010706020507" pitchFamily="18" charset="2"/>
              <a:buChar char="-"/>
            </a:pPr>
            <a:r>
              <a:rPr lang="en-US" sz="1400" dirty="0"/>
              <a:t>A mirror of negative elements; not the carrier of a positive open access vision</a:t>
            </a:r>
          </a:p>
        </p:txBody>
      </p:sp>
      <p:sp>
        <p:nvSpPr>
          <p:cNvPr id="24" name="Inhaltsplatzhalter 8"/>
          <p:cNvSpPr txBox="1">
            <a:spLocks/>
          </p:cNvSpPr>
          <p:nvPr/>
        </p:nvSpPr>
        <p:spPr>
          <a:xfrm>
            <a:off x="4705350" y="1904585"/>
            <a:ext cx="3555313" cy="2118529"/>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2153" indent="-292153">
              <a:spcAft>
                <a:spcPts val="511"/>
              </a:spcAft>
              <a:buClr>
                <a:schemeClr val="accent6"/>
              </a:buClr>
              <a:buFont typeface="Symbol" panose="05050102010706020507" pitchFamily="18" charset="2"/>
              <a:buChar char="-"/>
            </a:pPr>
            <a:r>
              <a:rPr lang="en-US" sz="1400" dirty="0"/>
              <a:t>Another example of working around the real solution</a:t>
            </a:r>
          </a:p>
          <a:p>
            <a:pPr marL="292153" indent="-292153">
              <a:spcAft>
                <a:spcPts val="511"/>
              </a:spcAft>
              <a:buClr>
                <a:schemeClr val="accent6"/>
              </a:buClr>
              <a:buFont typeface="Symbol" panose="05050102010706020507" pitchFamily="18" charset="2"/>
              <a:buChar char="-"/>
            </a:pPr>
            <a:r>
              <a:rPr lang="en-US" sz="1400" i="1" dirty="0"/>
              <a:t>Resource Access 21</a:t>
            </a:r>
            <a:r>
              <a:rPr lang="en-US" sz="1400" dirty="0"/>
              <a:t> was already defined in the Declarations of Budapest (2002) and Berlin (2003): </a:t>
            </a:r>
            <a:r>
              <a:rPr lang="en-US" sz="1400" dirty="0" smtClean="0"/>
              <a:t/>
            </a:r>
            <a:br>
              <a:rPr lang="en-US" sz="1400" dirty="0" smtClean="0"/>
            </a:br>
            <a:r>
              <a:rPr lang="en-US" sz="1400" dirty="0" smtClean="0"/>
              <a:t>it </a:t>
            </a:r>
            <a:r>
              <a:rPr lang="en-US" sz="1400" dirty="0"/>
              <a:t>is designated Open Access</a:t>
            </a:r>
          </a:p>
          <a:p>
            <a:pPr marL="292153" indent="-292153">
              <a:spcAft>
                <a:spcPts val="511"/>
              </a:spcAft>
              <a:buClr>
                <a:schemeClr val="accent6"/>
              </a:buClr>
              <a:buFont typeface="Symbol" panose="05050102010706020507" pitchFamily="18" charset="2"/>
              <a:buChar char="-"/>
            </a:pPr>
            <a:r>
              <a:rPr lang="en-US" sz="1400" dirty="0"/>
              <a:t>OA is the only legitimate resource access in the 21st century and the best possible </a:t>
            </a:r>
            <a:r>
              <a:rPr lang="en-US" sz="1400" dirty="0" smtClean="0"/>
              <a:t>single sign-on </a:t>
            </a:r>
            <a:r>
              <a:rPr lang="en-US" sz="1400" dirty="0"/>
              <a:t>system</a:t>
            </a:r>
          </a:p>
        </p:txBody>
      </p:sp>
      <p:sp>
        <p:nvSpPr>
          <p:cNvPr id="28" name="Textfeld 27"/>
          <p:cNvSpPr txBox="1"/>
          <p:nvPr/>
        </p:nvSpPr>
        <p:spPr>
          <a:xfrm>
            <a:off x="288221" y="4251664"/>
            <a:ext cx="8191517" cy="616329"/>
          </a:xfrm>
          <a:prstGeom prst="rect">
            <a:avLst/>
          </a:prstGeom>
          <a:solidFill>
            <a:schemeClr val="bg1"/>
          </a:solidFill>
          <a:ln w="12700">
            <a:solidFill>
              <a:schemeClr val="accent4"/>
            </a:solidFill>
          </a:ln>
        </p:spPr>
        <p:txBody>
          <a:bodyPr wrap="square" lIns="61344" tIns="61344" rIns="61344" bIns="61344" rtlCol="0">
            <a:spAutoFit/>
          </a:bodyPr>
          <a:lstStyle>
            <a:defPPr>
              <a:defRPr lang="de-DE"/>
            </a:defPPr>
            <a:lvl1pPr algn="ctr">
              <a:defRPr i="1">
                <a:solidFill>
                  <a:schemeClr val="bg1"/>
                </a:solidFill>
              </a:defRPr>
            </a:lvl1pPr>
          </a:lstStyle>
          <a:p>
            <a:r>
              <a:rPr lang="en-US" sz="1600" b="1" i="0" dirty="0" err="1">
                <a:solidFill>
                  <a:schemeClr val="tx2"/>
                </a:solidFill>
              </a:rPr>
              <a:t>SciHub</a:t>
            </a:r>
            <a:r>
              <a:rPr lang="en-US" sz="1600" b="1" i="0" dirty="0">
                <a:solidFill>
                  <a:schemeClr val="tx2"/>
                </a:solidFill>
              </a:rPr>
              <a:t> and RA21 seem to be diametrically opposed, but they are twins and together the epitome of what is wrong with the current system.</a:t>
            </a:r>
          </a:p>
        </p:txBody>
      </p:sp>
      <p:pic>
        <p:nvPicPr>
          <p:cNvPr id="27" name="Grafik 26"/>
          <p:cNvPicPr>
            <a:picLocks noChangeAspect="1"/>
          </p:cNvPicPr>
          <p:nvPr/>
        </p:nvPicPr>
        <p:blipFill rotWithShape="1">
          <a:blip r:embed="rId3" cstate="print">
            <a:extLst>
              <a:ext uri="{28A0092B-C50C-407E-A947-70E740481C1C}">
                <a14:useLocalDpi xmlns:a14="http://schemas.microsoft.com/office/drawing/2010/main" val="0"/>
              </a:ext>
            </a:extLst>
          </a:blip>
          <a:srcRect t="18875" b="18011"/>
          <a:stretch/>
        </p:blipFill>
        <p:spPr>
          <a:xfrm>
            <a:off x="4374454" y="1099085"/>
            <a:ext cx="1606570" cy="593050"/>
          </a:xfrm>
          <a:prstGeom prst="rect">
            <a:avLst/>
          </a:prstGeom>
        </p:spPr>
      </p:pic>
      <p:pic>
        <p:nvPicPr>
          <p:cNvPr id="29" name="Grafik 28"/>
          <p:cNvPicPr>
            <a:picLocks noChangeAspect="1"/>
          </p:cNvPicPr>
          <p:nvPr/>
        </p:nvPicPr>
        <p:blipFill rotWithShape="1">
          <a:blip r:embed="rId4" cstate="print">
            <a:extLst>
              <a:ext uri="{28A0092B-C50C-407E-A947-70E740481C1C}">
                <a14:useLocalDpi xmlns:a14="http://schemas.microsoft.com/office/drawing/2010/main" val="0"/>
              </a:ext>
            </a:extLst>
          </a:blip>
          <a:srcRect t="4438" b="7303"/>
          <a:stretch/>
        </p:blipFill>
        <p:spPr>
          <a:xfrm>
            <a:off x="299784" y="1149853"/>
            <a:ext cx="1597055" cy="542282"/>
          </a:xfrm>
          <a:prstGeom prst="rect">
            <a:avLst/>
          </a:prstGeom>
        </p:spPr>
      </p:pic>
    </p:spTree>
    <p:extLst>
      <p:ext uri="{BB962C8B-B14F-4D97-AF65-F5344CB8AC3E}">
        <p14:creationId xmlns:p14="http://schemas.microsoft.com/office/powerpoint/2010/main" val="4672571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20" grpId="0" animBg="1"/>
      <p:bldP spid="22" grpId="0"/>
      <p:bldP spid="24" grpId="0"/>
      <p:bldP spid="2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Pfeil nach rechts 53"/>
          <p:cNvSpPr/>
          <p:nvPr/>
        </p:nvSpPr>
        <p:spPr>
          <a:xfrm>
            <a:off x="275280" y="1873157"/>
            <a:ext cx="2844479" cy="1022523"/>
          </a:xfrm>
          <a:prstGeom prst="rightArrow">
            <a:avLst>
              <a:gd name="adj1" fmla="val 100000"/>
              <a:gd name="adj2" fmla="val 22343"/>
            </a:avLst>
          </a:prstGeom>
          <a:solidFill>
            <a:schemeClr val="bg2"/>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76" name="Textplatzhalter 75"/>
          <p:cNvSpPr>
            <a:spLocks noGrp="1"/>
          </p:cNvSpPr>
          <p:nvPr>
            <p:ph type="body" sz="quarter" idx="13"/>
          </p:nvPr>
        </p:nvSpPr>
        <p:spPr>
          <a:xfrm>
            <a:off x="279085" y="319711"/>
            <a:ext cx="6623160" cy="523253"/>
          </a:xfrm>
        </p:spPr>
        <p:txBody>
          <a:bodyPr/>
          <a:lstStyle/>
          <a:p>
            <a:r>
              <a:rPr lang="en-US" dirty="0" smtClean="0"/>
              <a:t>Characteristics of an open system</a:t>
            </a:r>
            <a:endParaRPr lang="en-US" dirty="0"/>
          </a:p>
        </p:txBody>
      </p:sp>
      <p:sp>
        <p:nvSpPr>
          <p:cNvPr id="8" name="Foliennummernplatzhalter 4"/>
          <p:cNvSpPr>
            <a:spLocks noGrp="1"/>
          </p:cNvSpPr>
          <p:nvPr>
            <p:ph type="sldNum" sz="quarter" idx="12"/>
          </p:nvPr>
        </p:nvSpPr>
        <p:spPr>
          <a:xfrm>
            <a:off x="8244408" y="4994609"/>
            <a:ext cx="714380" cy="125373"/>
          </a:xfrm>
        </p:spPr>
        <p:txBody>
          <a:bodyPr/>
          <a:lstStyle/>
          <a:p>
            <a:fld id="{4AD1E780-DE1C-4ECA-B5E5-863D0BC53287}" type="slidenum">
              <a:rPr lang="de-DE" smtClean="0">
                <a:solidFill>
                  <a:prstClr val="black">
                    <a:tint val="75000"/>
                  </a:prstClr>
                </a:solidFill>
              </a:rPr>
              <a:pPr/>
              <a:t>18</a:t>
            </a:fld>
            <a:endParaRPr lang="de-DE" dirty="0">
              <a:solidFill>
                <a:prstClr val="black">
                  <a:tint val="75000"/>
                </a:prstClr>
              </a:solidFill>
            </a:endParaRPr>
          </a:p>
        </p:txBody>
      </p:sp>
      <p:sp>
        <p:nvSpPr>
          <p:cNvPr id="29" name="Rechteck 28"/>
          <p:cNvSpPr/>
          <p:nvPr/>
        </p:nvSpPr>
        <p:spPr>
          <a:xfrm>
            <a:off x="287270" y="1874861"/>
            <a:ext cx="2558769" cy="10338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en-US" sz="1000" dirty="0">
              <a:solidFill>
                <a:schemeClr val="tx1"/>
              </a:solidFill>
            </a:endParaRPr>
          </a:p>
        </p:txBody>
      </p:sp>
      <p:sp>
        <p:nvSpPr>
          <p:cNvPr id="151" name="Textfeld 150"/>
          <p:cNvSpPr txBox="1"/>
          <p:nvPr/>
        </p:nvSpPr>
        <p:spPr>
          <a:xfrm>
            <a:off x="445859" y="2049802"/>
            <a:ext cx="2164683" cy="724998"/>
          </a:xfrm>
          <a:prstGeom prst="rect">
            <a:avLst/>
          </a:prstGeom>
          <a:noFill/>
          <a:ln w="12700">
            <a:noFill/>
          </a:ln>
        </p:spPr>
        <p:txBody>
          <a:bodyPr wrap="square" lIns="77907" tIns="38953" rIns="77907" bIns="38953" rtlCol="0">
            <a:spAutoFit/>
          </a:bodyPr>
          <a:lstStyle/>
          <a:p>
            <a:r>
              <a:rPr lang="en-US" sz="1400" b="1" i="1" dirty="0">
                <a:solidFill>
                  <a:schemeClr val="accent6"/>
                </a:solidFill>
              </a:rPr>
              <a:t>Submission layer &amp; </a:t>
            </a:r>
          </a:p>
          <a:p>
            <a:r>
              <a:rPr lang="en-US" sz="1400" b="1" i="1" dirty="0">
                <a:solidFill>
                  <a:schemeClr val="accent6"/>
                </a:solidFill>
              </a:rPr>
              <a:t>Publication support services</a:t>
            </a:r>
          </a:p>
        </p:txBody>
      </p:sp>
      <p:sp>
        <p:nvSpPr>
          <p:cNvPr id="39" name="Pfeil nach rechts 38"/>
          <p:cNvSpPr/>
          <p:nvPr/>
        </p:nvSpPr>
        <p:spPr>
          <a:xfrm>
            <a:off x="3191543" y="1110240"/>
            <a:ext cx="2832487" cy="334309"/>
          </a:xfrm>
          <a:prstGeom prst="rightArrow">
            <a:avLst>
              <a:gd name="adj1" fmla="val 100000"/>
              <a:gd name="adj2" fmla="val 2863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0" name="Pfeil nach rechts 39"/>
          <p:cNvSpPr/>
          <p:nvPr/>
        </p:nvSpPr>
        <p:spPr>
          <a:xfrm>
            <a:off x="3182748" y="1106832"/>
            <a:ext cx="2832487" cy="334309"/>
          </a:xfrm>
          <a:prstGeom prst="rightArrow">
            <a:avLst>
              <a:gd name="adj1" fmla="val 100000"/>
              <a:gd name="adj2" fmla="val 2863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1" name="Pfeil nach rechts 40"/>
          <p:cNvSpPr/>
          <p:nvPr/>
        </p:nvSpPr>
        <p:spPr>
          <a:xfrm>
            <a:off x="6088715" y="1110240"/>
            <a:ext cx="2832487" cy="334309"/>
          </a:xfrm>
          <a:prstGeom prst="rightArrow">
            <a:avLst>
              <a:gd name="adj1" fmla="val 100000"/>
              <a:gd name="adj2" fmla="val 2863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2" name="Pfeil nach rechts 41"/>
          <p:cNvSpPr/>
          <p:nvPr/>
        </p:nvSpPr>
        <p:spPr>
          <a:xfrm>
            <a:off x="287270" y="1100004"/>
            <a:ext cx="2832487" cy="334309"/>
          </a:xfrm>
          <a:prstGeom prst="rightArrow">
            <a:avLst>
              <a:gd name="adj1" fmla="val 100000"/>
              <a:gd name="adj2" fmla="val 2863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cxnSp>
        <p:nvCxnSpPr>
          <p:cNvPr id="43" name="Gerade Verbindung mit Pfeil 42"/>
          <p:cNvCxnSpPr/>
          <p:nvPr/>
        </p:nvCxnSpPr>
        <p:spPr>
          <a:xfrm>
            <a:off x="283076" y="1510344"/>
            <a:ext cx="8580884" cy="0"/>
          </a:xfrm>
          <a:prstGeom prst="straightConnector1">
            <a:avLst/>
          </a:prstGeom>
          <a:ln w="222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Titel 1"/>
          <p:cNvSpPr txBox="1">
            <a:spLocks/>
          </p:cNvSpPr>
          <p:nvPr/>
        </p:nvSpPr>
        <p:spPr>
          <a:xfrm>
            <a:off x="283576" y="1562527"/>
            <a:ext cx="1845118" cy="153888"/>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r>
              <a:rPr lang="en-US" sz="1000" dirty="0"/>
              <a:t>Publication continuum</a:t>
            </a:r>
          </a:p>
        </p:txBody>
      </p:sp>
      <p:sp>
        <p:nvSpPr>
          <p:cNvPr id="51" name="Rectangle 2"/>
          <p:cNvSpPr/>
          <p:nvPr/>
        </p:nvSpPr>
        <p:spPr>
          <a:xfrm>
            <a:off x="362207" y="1071809"/>
            <a:ext cx="2558769" cy="392415"/>
          </a:xfrm>
          <a:prstGeom prst="rect">
            <a:avLst/>
          </a:prstGeom>
          <a:noFill/>
        </p:spPr>
        <p:txBody>
          <a:bodyPr wrap="square" lIns="0" tIns="0" rIns="0" bIns="0" anchor="ctr" anchorCtr="0">
            <a:spAutoFit/>
          </a:bodyPr>
          <a:lstStyle/>
          <a:p>
            <a:pPr algn="ctr">
              <a:lnSpc>
                <a:spcPct val="150000"/>
              </a:lnSpc>
            </a:pPr>
            <a:r>
              <a:rPr lang="en-US" sz="1700" b="1" i="1" dirty="0">
                <a:solidFill>
                  <a:schemeClr val="accent6"/>
                </a:solidFill>
              </a:rPr>
              <a:t>Pre-publishing</a:t>
            </a:r>
          </a:p>
        </p:txBody>
      </p:sp>
      <p:sp>
        <p:nvSpPr>
          <p:cNvPr id="52" name="Rectangle 2"/>
          <p:cNvSpPr/>
          <p:nvPr/>
        </p:nvSpPr>
        <p:spPr>
          <a:xfrm>
            <a:off x="3297048" y="1073513"/>
            <a:ext cx="2558769" cy="392415"/>
          </a:xfrm>
          <a:prstGeom prst="rect">
            <a:avLst/>
          </a:prstGeom>
          <a:noFill/>
        </p:spPr>
        <p:txBody>
          <a:bodyPr wrap="square" lIns="0" tIns="0" rIns="0" bIns="0" anchor="ctr" anchorCtr="0">
            <a:spAutoFit/>
          </a:bodyPr>
          <a:lstStyle/>
          <a:p>
            <a:pPr algn="ctr">
              <a:lnSpc>
                <a:spcPct val="150000"/>
              </a:lnSpc>
            </a:pPr>
            <a:r>
              <a:rPr lang="en-US" sz="1700" b="1" i="1" dirty="0">
                <a:solidFill>
                  <a:schemeClr val="accent6"/>
                </a:solidFill>
              </a:rPr>
              <a:t>Publishing</a:t>
            </a:r>
          </a:p>
        </p:txBody>
      </p:sp>
      <p:sp>
        <p:nvSpPr>
          <p:cNvPr id="53" name="Rectangle 2"/>
          <p:cNvSpPr/>
          <p:nvPr/>
        </p:nvSpPr>
        <p:spPr>
          <a:xfrm>
            <a:off x="6165359" y="1075217"/>
            <a:ext cx="2558769" cy="392415"/>
          </a:xfrm>
          <a:prstGeom prst="rect">
            <a:avLst/>
          </a:prstGeom>
          <a:noFill/>
        </p:spPr>
        <p:txBody>
          <a:bodyPr wrap="square" lIns="0" tIns="0" rIns="0" bIns="0" anchor="ctr" anchorCtr="0">
            <a:spAutoFit/>
          </a:bodyPr>
          <a:lstStyle/>
          <a:p>
            <a:pPr algn="ctr">
              <a:lnSpc>
                <a:spcPct val="150000"/>
              </a:lnSpc>
            </a:pPr>
            <a:r>
              <a:rPr lang="en-US" sz="1700" b="1" i="1" dirty="0">
                <a:solidFill>
                  <a:schemeClr val="accent6"/>
                </a:solidFill>
              </a:rPr>
              <a:t>Post-publishing</a:t>
            </a:r>
          </a:p>
        </p:txBody>
      </p:sp>
      <p:sp>
        <p:nvSpPr>
          <p:cNvPr id="60" name="Pfeil nach rechts 59"/>
          <p:cNvSpPr/>
          <p:nvPr/>
        </p:nvSpPr>
        <p:spPr>
          <a:xfrm>
            <a:off x="3191543" y="1880510"/>
            <a:ext cx="2844479" cy="1022523"/>
          </a:xfrm>
          <a:prstGeom prst="rightArrow">
            <a:avLst>
              <a:gd name="adj1" fmla="val 100000"/>
              <a:gd name="adj2" fmla="val 22343"/>
            </a:avLst>
          </a:prstGeom>
          <a:solidFill>
            <a:schemeClr val="accent4"/>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1" name="Pfeil nach rechts 60"/>
          <p:cNvSpPr/>
          <p:nvPr/>
        </p:nvSpPr>
        <p:spPr>
          <a:xfrm>
            <a:off x="6088715" y="1888262"/>
            <a:ext cx="2844479" cy="1022523"/>
          </a:xfrm>
          <a:prstGeom prst="rightArrow">
            <a:avLst>
              <a:gd name="adj1" fmla="val 100000"/>
              <a:gd name="adj2" fmla="val 22343"/>
            </a:avLst>
          </a:prstGeom>
          <a:solidFill>
            <a:schemeClr val="accent4"/>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65" name="Titel 1"/>
          <p:cNvSpPr txBox="1">
            <a:spLocks/>
          </p:cNvSpPr>
          <p:nvPr/>
        </p:nvSpPr>
        <p:spPr>
          <a:xfrm>
            <a:off x="6230159" y="2013630"/>
            <a:ext cx="2342583" cy="738664"/>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r>
              <a:rPr lang="en-US" sz="1200" dirty="0">
                <a:solidFill>
                  <a:schemeClr val="bg1"/>
                </a:solidFill>
              </a:rPr>
              <a:t>Open system, </a:t>
            </a:r>
            <a:br>
              <a:rPr lang="en-US" sz="1200" dirty="0">
                <a:solidFill>
                  <a:schemeClr val="bg1"/>
                </a:solidFill>
              </a:rPr>
            </a:br>
            <a:r>
              <a:rPr lang="en-US" sz="1200" dirty="0">
                <a:solidFill>
                  <a:schemeClr val="bg1"/>
                </a:solidFill>
              </a:rPr>
              <a:t>allowing </a:t>
            </a:r>
            <a:br>
              <a:rPr lang="en-US" sz="1200" dirty="0">
                <a:solidFill>
                  <a:schemeClr val="bg1"/>
                </a:solidFill>
              </a:rPr>
            </a:br>
            <a:r>
              <a:rPr lang="en-US" sz="1200" dirty="0">
                <a:solidFill>
                  <a:schemeClr val="bg1"/>
                </a:solidFill>
              </a:rPr>
              <a:t>maximum (re-)use </a:t>
            </a:r>
            <a:br>
              <a:rPr lang="en-US" sz="1200" dirty="0">
                <a:solidFill>
                  <a:schemeClr val="bg1"/>
                </a:solidFill>
              </a:rPr>
            </a:br>
            <a:r>
              <a:rPr lang="en-US" sz="1200" dirty="0">
                <a:solidFill>
                  <a:schemeClr val="bg1"/>
                </a:solidFill>
              </a:rPr>
              <a:t>and interoperability</a:t>
            </a:r>
          </a:p>
        </p:txBody>
      </p:sp>
      <p:pic>
        <p:nvPicPr>
          <p:cNvPr id="48" name="Grafik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87747" y="3041132"/>
            <a:ext cx="983593" cy="432317"/>
          </a:xfrm>
          <a:prstGeom prst="rect">
            <a:avLst/>
          </a:prstGeom>
        </p:spPr>
      </p:pic>
      <p:pic>
        <p:nvPicPr>
          <p:cNvPr id="49" name="Grafik 4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22037" y="3679637"/>
            <a:ext cx="927709" cy="655624"/>
          </a:xfrm>
          <a:prstGeom prst="rect">
            <a:avLst/>
          </a:prstGeom>
        </p:spPr>
      </p:pic>
      <p:pic>
        <p:nvPicPr>
          <p:cNvPr id="55" name="Grafik 5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93883" y="3819476"/>
            <a:ext cx="1129584" cy="277398"/>
          </a:xfrm>
          <a:prstGeom prst="rect">
            <a:avLst/>
          </a:prstGeom>
        </p:spPr>
      </p:pic>
      <p:pic>
        <p:nvPicPr>
          <p:cNvPr id="56" name="Grafik 5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572666" y="4313082"/>
            <a:ext cx="897308" cy="456433"/>
          </a:xfrm>
          <a:prstGeom prst="rect">
            <a:avLst/>
          </a:prstGeom>
        </p:spPr>
      </p:pic>
      <p:pic>
        <p:nvPicPr>
          <p:cNvPr id="57" name="Grafik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87210" y="3041146"/>
            <a:ext cx="767375" cy="767375"/>
          </a:xfrm>
          <a:prstGeom prst="rect">
            <a:avLst/>
          </a:prstGeom>
        </p:spPr>
      </p:pic>
      <p:pic>
        <p:nvPicPr>
          <p:cNvPr id="58" name="Grafik 5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72666" y="3178988"/>
            <a:ext cx="953617" cy="500649"/>
          </a:xfrm>
          <a:prstGeom prst="rect">
            <a:avLst/>
          </a:prstGeom>
        </p:spPr>
      </p:pic>
      <p:pic>
        <p:nvPicPr>
          <p:cNvPr id="59" name="Grafik 5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22281" y="3178988"/>
            <a:ext cx="607703" cy="521536"/>
          </a:xfrm>
          <a:prstGeom prst="rect">
            <a:avLst/>
          </a:prstGeom>
        </p:spPr>
      </p:pic>
      <p:pic>
        <p:nvPicPr>
          <p:cNvPr id="66" name="Grafik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88908" y="4072502"/>
            <a:ext cx="1066854" cy="305543"/>
          </a:xfrm>
          <a:prstGeom prst="rect">
            <a:avLst/>
          </a:prstGeom>
        </p:spPr>
      </p:pic>
      <p:pic>
        <p:nvPicPr>
          <p:cNvPr id="67" name="Grafik 6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587747" y="4541299"/>
            <a:ext cx="1119323" cy="280532"/>
          </a:xfrm>
          <a:prstGeom prst="rect">
            <a:avLst/>
          </a:prstGeom>
        </p:spPr>
      </p:pic>
      <p:pic>
        <p:nvPicPr>
          <p:cNvPr id="69" name="Grafik 68"/>
          <p:cNvPicPr>
            <a:picLocks noChangeAspect="1"/>
          </p:cNvPicPr>
          <p:nvPr/>
        </p:nvPicPr>
        <p:blipFill>
          <a:blip r:embed="rId12"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7723467" y="1879060"/>
            <a:ext cx="1010428" cy="1010428"/>
          </a:xfrm>
          <a:prstGeom prst="rect">
            <a:avLst/>
          </a:prstGeom>
        </p:spPr>
      </p:pic>
      <p:pic>
        <p:nvPicPr>
          <p:cNvPr id="70" name="Grafik 6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469160" y="3532354"/>
            <a:ext cx="1001444" cy="1001444"/>
          </a:xfrm>
          <a:prstGeom prst="rect">
            <a:avLst/>
          </a:prstGeom>
        </p:spPr>
      </p:pic>
      <p:pic>
        <p:nvPicPr>
          <p:cNvPr id="71" name="Grafik 7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1206135" y="3036036"/>
            <a:ext cx="1223482" cy="361557"/>
          </a:xfrm>
          <a:prstGeom prst="rect">
            <a:avLst/>
          </a:prstGeom>
        </p:spPr>
      </p:pic>
      <p:pic>
        <p:nvPicPr>
          <p:cNvPr id="72" name="Grafik 71"/>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46028" y="4211931"/>
            <a:ext cx="854514" cy="321867"/>
          </a:xfrm>
          <a:prstGeom prst="rect">
            <a:avLst/>
          </a:prstGeom>
        </p:spPr>
      </p:pic>
      <p:pic>
        <p:nvPicPr>
          <p:cNvPr id="73" name="Grafik 72"/>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48978" y="3514756"/>
            <a:ext cx="1189332" cy="413934"/>
          </a:xfrm>
          <a:prstGeom prst="rect">
            <a:avLst/>
          </a:prstGeom>
        </p:spPr>
      </p:pic>
      <p:grpSp>
        <p:nvGrpSpPr>
          <p:cNvPr id="6" name="Gruppieren 5"/>
          <p:cNvGrpSpPr/>
          <p:nvPr/>
        </p:nvGrpSpPr>
        <p:grpSpPr>
          <a:xfrm>
            <a:off x="4082461" y="1985625"/>
            <a:ext cx="818298" cy="818298"/>
            <a:chOff x="4130086" y="1985625"/>
            <a:chExt cx="818298" cy="818298"/>
          </a:xfrm>
        </p:grpSpPr>
        <p:pic>
          <p:nvPicPr>
            <p:cNvPr id="62" name="Grafik 61"/>
            <p:cNvPicPr>
              <a:picLocks noChangeAspect="1"/>
            </p:cNvPicPr>
            <p:nvPr/>
          </p:nvPicPr>
          <p:blipFill>
            <a:blip r:embed="rId17"/>
            <a:stretch>
              <a:fillRect/>
            </a:stretch>
          </p:blipFill>
          <p:spPr>
            <a:xfrm>
              <a:off x="4567606" y="2568180"/>
              <a:ext cx="8792" cy="7144"/>
            </a:xfrm>
            <a:prstGeom prst="rect">
              <a:avLst/>
            </a:prstGeom>
          </p:spPr>
        </p:pic>
        <p:sp>
          <p:nvSpPr>
            <p:cNvPr id="5" name="Ellipse 4"/>
            <p:cNvSpPr/>
            <p:nvPr/>
          </p:nvSpPr>
          <p:spPr>
            <a:xfrm>
              <a:off x="4166458" y="2023155"/>
              <a:ext cx="753351" cy="7386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68" name="Grafik 67"/>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30086" y="1985625"/>
              <a:ext cx="818298" cy="818298"/>
            </a:xfrm>
            <a:prstGeom prst="rect">
              <a:avLst/>
            </a:prstGeom>
          </p:spPr>
        </p:pic>
      </p:grpSp>
    </p:spTree>
    <p:extLst>
      <p:ext uri="{BB962C8B-B14F-4D97-AF65-F5344CB8AC3E}">
        <p14:creationId xmlns:p14="http://schemas.microsoft.com/office/powerpoint/2010/main" val="4693994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0" y="11825"/>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4" name="Inhaltsplatzhalter 6"/>
          <p:cNvSpPr txBox="1">
            <a:spLocks/>
          </p:cNvSpPr>
          <p:nvPr>
            <p:custDataLst>
              <p:tags r:id="rId2"/>
            </p:custDataLst>
          </p:nvPr>
        </p:nvSpPr>
        <p:spPr>
          <a:xfrm>
            <a:off x="0" y="2345069"/>
            <a:ext cx="9144000" cy="371475"/>
          </a:xfrm>
          <a:prstGeom prst="rect">
            <a:avLst/>
          </a:prstGeom>
        </p:spPr>
        <p:txBody>
          <a:bodyPr vert="horz" wrap="square" lIns="0" tIns="0" rIns="0" bIns="0" rtlCol="0">
            <a:noAutofit/>
          </a:bodyPr>
          <a:lstStyle>
            <a:lvl1pPr marL="0" indent="0" algn="l" defTabSz="914400" rtl="0" eaLnBrk="1" latinLnBrk="0" hangingPunct="1">
              <a:lnSpc>
                <a:spcPts val="3600"/>
              </a:lnSpc>
              <a:spcBef>
                <a:spcPts val="200"/>
              </a:spcBef>
              <a:buClr>
                <a:schemeClr val="tx2"/>
              </a:buClr>
              <a:buFont typeface="Wingdings" pitchFamily="2" charset="2"/>
              <a:buNone/>
              <a:defRPr sz="2000" kern="1200">
                <a:solidFill>
                  <a:schemeClr val="tx2"/>
                </a:solidFill>
                <a:latin typeface="+mn-lt"/>
                <a:ea typeface="+mn-ea"/>
                <a:cs typeface="+mn-cs"/>
              </a:defRPr>
            </a:lvl1pPr>
            <a:lvl2pPr marL="180975" indent="-180975" algn="l" defTabSz="914400" rtl="0" eaLnBrk="1" latinLnBrk="0" hangingPunct="1">
              <a:lnSpc>
                <a:spcPts val="3600"/>
              </a:lnSpc>
              <a:spcBef>
                <a:spcPts val="200"/>
              </a:spcBef>
              <a:buClr>
                <a:schemeClr val="tx2"/>
              </a:buClr>
              <a:buFont typeface="Wingdings" pitchFamily="2" charset="2"/>
              <a:buChar char="§"/>
              <a:defRPr sz="2000" kern="1200">
                <a:solidFill>
                  <a:schemeClr val="tx2"/>
                </a:solidFill>
                <a:latin typeface="+mn-lt"/>
                <a:ea typeface="+mn-ea"/>
                <a:cs typeface="+mn-cs"/>
              </a:defRPr>
            </a:lvl2pPr>
            <a:lvl3pPr marL="355600" indent="-174625"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3pPr>
            <a:lvl4pPr marL="538163" indent="-182563"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4pPr>
            <a:lvl5pPr marL="719138" indent="-180975" algn="l" defTabSz="914400" rtl="0" eaLnBrk="1" latinLnBrk="0" hangingPunct="1">
              <a:lnSpc>
                <a:spcPts val="3600"/>
              </a:lnSpc>
              <a:spcBef>
                <a:spcPts val="200"/>
              </a:spcBef>
              <a:buClr>
                <a:schemeClr val="tx2"/>
              </a:buClr>
              <a:buFont typeface="Symbol" pitchFamily="18" charset="2"/>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2400" b="1" dirty="0">
                <a:solidFill>
                  <a:schemeClr val="accent4"/>
                </a:solidFill>
              </a:rPr>
              <a:t>1</a:t>
            </a:r>
            <a:r>
              <a:rPr lang="en-US" sz="2400" b="1" dirty="0" smtClean="0">
                <a:solidFill>
                  <a:schemeClr val="accent4"/>
                </a:solidFill>
              </a:rPr>
              <a:t>. The current state of open access</a:t>
            </a:r>
            <a:endParaRPr lang="en-US" sz="2400" b="1" dirty="0">
              <a:solidFill>
                <a:schemeClr val="accent4"/>
              </a:solidFill>
            </a:endParaRPr>
          </a:p>
        </p:txBody>
      </p:sp>
      <p:grpSp>
        <p:nvGrpSpPr>
          <p:cNvPr id="18" name="Gruppieren 17"/>
          <p:cNvGrpSpPr/>
          <p:nvPr/>
        </p:nvGrpSpPr>
        <p:grpSpPr>
          <a:xfrm>
            <a:off x="0" y="2271712"/>
            <a:ext cx="9144000" cy="528638"/>
            <a:chOff x="0" y="1600200"/>
            <a:chExt cx="9906000" cy="495300"/>
          </a:xfrm>
        </p:grpSpPr>
        <p:cxnSp>
          <p:nvCxnSpPr>
            <p:cNvPr id="19" name="Gerade Verbindung 18"/>
            <p:cNvCxnSpPr/>
            <p:nvPr/>
          </p:nvCxnSpPr>
          <p:spPr>
            <a:xfrm>
              <a:off x="0" y="16002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0" y="20955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aphicFrame>
        <p:nvGraphicFramePr>
          <p:cNvPr id="11" name="Objekt 10" hidden="1"/>
          <p:cNvGraphicFramePr>
            <a:graphicFrameLocks/>
          </p:cNvGraphicFramePr>
          <p:nvPr>
            <p:custDataLst>
              <p:tags r:id="rId3"/>
            </p:custDataLst>
            <p:extLst>
              <p:ext uri="{D42A27DB-BD31-4B8C-83A1-F6EECF244321}">
                <p14:modId xmlns:p14="http://schemas.microsoft.com/office/powerpoint/2010/main" val="1399229076"/>
              </p:ext>
            </p:extLst>
          </p:nvPr>
        </p:nvGraphicFramePr>
        <p:xfrm>
          <a:off x="0" y="2"/>
          <a:ext cx="146538" cy="119063"/>
        </p:xfrm>
        <a:graphic>
          <a:graphicData uri="http://schemas.openxmlformats.org/presentationml/2006/ole">
            <mc:AlternateContent xmlns:mc="http://schemas.openxmlformats.org/markup-compatibility/2006">
              <mc:Choice xmlns:v="urn:schemas-microsoft-com:vml" Requires="v">
                <p:oleObj spid="_x0000_s153657" name="think-cell Slide" r:id="rId6" imgW="341" imgH="341" progId="TCLayout.ActiveDocument.1">
                  <p:embed/>
                </p:oleObj>
              </mc:Choice>
              <mc:Fallback>
                <p:oleObj name="think-cell Slide" r:id="rId6" imgW="341" imgH="341" progId="TCLayout.ActiveDocument.1">
                  <p:embed/>
                  <p:pic>
                    <p:nvPicPr>
                      <p:cNvPr id="0" name=""/>
                      <p:cNvPicPr/>
                      <p:nvPr/>
                    </p:nvPicPr>
                    <p:blipFill>
                      <a:blip r:embed="rId7"/>
                      <a:stretch>
                        <a:fillRect/>
                      </a:stretch>
                    </p:blipFill>
                    <p:spPr>
                      <a:xfrm>
                        <a:off x="0" y="2"/>
                        <a:ext cx="146538" cy="119063"/>
                      </a:xfrm>
                      <a:prstGeom prst="rect">
                        <a:avLst/>
                      </a:prstGeom>
                    </p:spPr>
                  </p:pic>
                </p:oleObj>
              </mc:Fallback>
            </mc:AlternateContent>
          </a:graphicData>
        </a:graphic>
      </p:graphicFrame>
      <p:sp>
        <p:nvSpPr>
          <p:cNvPr id="5" name="Foliennummernplatzhalter 4"/>
          <p:cNvSpPr>
            <a:spLocks noGrp="1"/>
          </p:cNvSpPr>
          <p:nvPr>
            <p:ph type="sldNum" sz="quarter" idx="12"/>
            <p:custDataLst>
              <p:tags r:id="rId4"/>
            </p:custDataLst>
          </p:nvPr>
        </p:nvSpPr>
        <p:spPr/>
        <p:txBody>
          <a:bodyPr/>
          <a:lstStyle/>
          <a:p>
            <a:fld id="{4AD1E780-DE1C-4ECA-B5E5-863D0BC53287}" type="slidenum">
              <a:rPr lang="de-DE" smtClean="0"/>
              <a:t>1</a:t>
            </a:fld>
            <a:endParaRPr lang="de-DE"/>
          </a:p>
        </p:txBody>
      </p:sp>
    </p:spTree>
    <p:extLst>
      <p:ext uri="{BB962C8B-B14F-4D97-AF65-F5344CB8AC3E}">
        <p14:creationId xmlns:p14="http://schemas.microsoft.com/office/powerpoint/2010/main" val="15347827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Textplatzhalter 75"/>
          <p:cNvSpPr>
            <a:spLocks noGrp="1"/>
          </p:cNvSpPr>
          <p:nvPr>
            <p:ph type="body" sz="quarter" idx="13"/>
          </p:nvPr>
        </p:nvSpPr>
        <p:spPr>
          <a:xfrm>
            <a:off x="279085" y="319711"/>
            <a:ext cx="6623160" cy="523253"/>
          </a:xfrm>
        </p:spPr>
        <p:txBody>
          <a:bodyPr/>
          <a:lstStyle/>
          <a:p>
            <a:r>
              <a:rPr lang="en-US" dirty="0" smtClean="0"/>
              <a:t>The opportunities of an open system</a:t>
            </a:r>
            <a:endParaRPr lang="en-US" dirty="0"/>
          </a:p>
        </p:txBody>
      </p:sp>
      <p:sp>
        <p:nvSpPr>
          <p:cNvPr id="8" name="Foliennummernplatzhalter 4"/>
          <p:cNvSpPr>
            <a:spLocks noGrp="1"/>
          </p:cNvSpPr>
          <p:nvPr>
            <p:ph type="sldNum" sz="quarter" idx="12"/>
          </p:nvPr>
        </p:nvSpPr>
        <p:spPr>
          <a:xfrm>
            <a:off x="8244408" y="4994609"/>
            <a:ext cx="714380" cy="125373"/>
          </a:xfrm>
        </p:spPr>
        <p:txBody>
          <a:bodyPr/>
          <a:lstStyle/>
          <a:p>
            <a:fld id="{4AD1E780-DE1C-4ECA-B5E5-863D0BC53287}" type="slidenum">
              <a:rPr lang="de-DE" smtClean="0">
                <a:solidFill>
                  <a:prstClr val="black">
                    <a:tint val="75000"/>
                  </a:prstClr>
                </a:solidFill>
              </a:rPr>
              <a:pPr/>
              <a:t>19</a:t>
            </a:fld>
            <a:endParaRPr lang="de-DE" dirty="0">
              <a:solidFill>
                <a:prstClr val="black">
                  <a:tint val="75000"/>
                </a:prstClr>
              </a:solidFill>
            </a:endParaRPr>
          </a:p>
        </p:txBody>
      </p:sp>
      <p:sp>
        <p:nvSpPr>
          <p:cNvPr id="42" name="Titel 1"/>
          <p:cNvSpPr txBox="1">
            <a:spLocks/>
          </p:cNvSpPr>
          <p:nvPr/>
        </p:nvSpPr>
        <p:spPr>
          <a:xfrm>
            <a:off x="266573" y="3050728"/>
            <a:ext cx="2552991" cy="682238"/>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spcBef>
                <a:spcPts val="1023"/>
              </a:spcBef>
            </a:pPr>
            <a:r>
              <a:rPr lang="en-US" sz="1200" dirty="0"/>
              <a:t>Emerging service arena:</a:t>
            </a:r>
          </a:p>
          <a:p>
            <a:pPr algn="l">
              <a:spcBef>
                <a:spcPts val="1023"/>
              </a:spcBef>
            </a:pPr>
            <a:r>
              <a:rPr lang="en-US" sz="1200" b="0" dirty="0" smtClean="0"/>
              <a:t>New </a:t>
            </a:r>
            <a:r>
              <a:rPr lang="en-US" sz="1200" b="0" dirty="0"/>
              <a:t>market </a:t>
            </a:r>
            <a:r>
              <a:rPr lang="en-US" sz="1200" b="0" dirty="0" smtClean="0"/>
              <a:t>entries, systems </a:t>
            </a:r>
            <a:r>
              <a:rPr lang="en-US" sz="1200" b="0" dirty="0"/>
              <a:t>&amp; services</a:t>
            </a:r>
          </a:p>
        </p:txBody>
      </p:sp>
      <p:sp>
        <p:nvSpPr>
          <p:cNvPr id="43" name="Titel 1"/>
          <p:cNvSpPr txBox="1">
            <a:spLocks/>
          </p:cNvSpPr>
          <p:nvPr/>
        </p:nvSpPr>
        <p:spPr>
          <a:xfrm>
            <a:off x="3181916" y="3052432"/>
            <a:ext cx="2552991" cy="682238"/>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spcBef>
                <a:spcPts val="1023"/>
              </a:spcBef>
            </a:pPr>
            <a:r>
              <a:rPr lang="en-US" sz="1200" dirty="0" smtClean="0"/>
              <a:t>Healthy </a:t>
            </a:r>
            <a:r>
              <a:rPr lang="en-US" sz="1200" dirty="0"/>
              <a:t>competition:</a:t>
            </a:r>
          </a:p>
          <a:p>
            <a:pPr algn="l">
              <a:spcBef>
                <a:spcPts val="1023"/>
              </a:spcBef>
            </a:pPr>
            <a:r>
              <a:rPr lang="en-US" sz="1200" b="0" dirty="0" smtClean="0"/>
              <a:t>Publishers provide </a:t>
            </a:r>
            <a:r>
              <a:rPr lang="en-US" sz="1200" b="0" dirty="0"/>
              <a:t>core services based on a </a:t>
            </a:r>
            <a:r>
              <a:rPr lang="en-US" sz="1200" b="0" dirty="0" smtClean="0"/>
              <a:t>transparent </a:t>
            </a:r>
            <a:r>
              <a:rPr lang="en-US" sz="1200" b="0" dirty="0"/>
              <a:t>cost structure</a:t>
            </a:r>
          </a:p>
        </p:txBody>
      </p:sp>
      <p:sp>
        <p:nvSpPr>
          <p:cNvPr id="44" name="Titel 1"/>
          <p:cNvSpPr txBox="1">
            <a:spLocks/>
          </p:cNvSpPr>
          <p:nvPr/>
        </p:nvSpPr>
        <p:spPr>
          <a:xfrm>
            <a:off x="6065610" y="3054136"/>
            <a:ext cx="2664486" cy="866904"/>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spcBef>
                <a:spcPts val="1023"/>
              </a:spcBef>
            </a:pPr>
            <a:r>
              <a:rPr lang="en-US" sz="1200" dirty="0"/>
              <a:t>Exponential growth:</a:t>
            </a:r>
          </a:p>
          <a:p>
            <a:pPr algn="l">
              <a:spcBef>
                <a:spcPts val="1023"/>
              </a:spcBef>
            </a:pPr>
            <a:r>
              <a:rPr lang="en-US" sz="1200" b="0" dirty="0" smtClean="0"/>
              <a:t>New collaborative tools and services, </a:t>
            </a:r>
            <a:r>
              <a:rPr lang="en-US" sz="1200" b="0" dirty="0"/>
              <a:t>social academic </a:t>
            </a:r>
            <a:r>
              <a:rPr lang="en-US" sz="1200" b="0" dirty="0" smtClean="0"/>
              <a:t>networks; text and data mining promise </a:t>
            </a:r>
            <a:r>
              <a:rPr lang="en-US" sz="1200" b="0" dirty="0"/>
              <a:t>finally fulfilled</a:t>
            </a:r>
          </a:p>
        </p:txBody>
      </p:sp>
      <p:sp>
        <p:nvSpPr>
          <p:cNvPr id="45" name="Textfeld 44"/>
          <p:cNvSpPr txBox="1"/>
          <p:nvPr/>
        </p:nvSpPr>
        <p:spPr>
          <a:xfrm>
            <a:off x="283076" y="4042447"/>
            <a:ext cx="8580884" cy="796253"/>
          </a:xfrm>
          <a:prstGeom prst="rect">
            <a:avLst/>
          </a:prstGeom>
          <a:solidFill>
            <a:schemeClr val="bg1"/>
          </a:solidFill>
          <a:ln w="12700">
            <a:solidFill>
              <a:schemeClr val="accent4"/>
            </a:solidFill>
          </a:ln>
        </p:spPr>
        <p:txBody>
          <a:bodyPr wrap="square" lIns="153362" tIns="153362" rIns="153362" bIns="153362" rtlCol="0" anchor="ctr" anchorCtr="0">
            <a:noAutofit/>
          </a:bodyPr>
          <a:lstStyle>
            <a:defPPr>
              <a:defRPr lang="de-DE"/>
            </a:defPPr>
            <a:lvl1pPr algn="ctr">
              <a:defRPr i="1">
                <a:solidFill>
                  <a:schemeClr val="bg1"/>
                </a:solidFill>
              </a:defRPr>
            </a:lvl1pPr>
          </a:lstStyle>
          <a:p>
            <a:r>
              <a:rPr lang="en-US" sz="1400" b="1" dirty="0" smtClean="0">
                <a:solidFill>
                  <a:schemeClr val="accent4"/>
                </a:solidFill>
              </a:rPr>
              <a:t>In order to drive innovation and exploit the technological opportunities, </a:t>
            </a:r>
          </a:p>
          <a:p>
            <a:r>
              <a:rPr lang="en-US" sz="1400" b="1" dirty="0" smtClean="0">
                <a:solidFill>
                  <a:schemeClr val="accent4"/>
                </a:solidFill>
              </a:rPr>
              <a:t>the principle of openness must be adopted as the default in the scholarly communications.</a:t>
            </a:r>
          </a:p>
          <a:p>
            <a:r>
              <a:rPr lang="en-US" sz="1400" b="1" dirty="0" smtClean="0">
                <a:solidFill>
                  <a:schemeClr val="accent4"/>
                </a:solidFill>
              </a:rPr>
              <a:t>For that, the paywall must come down!</a:t>
            </a:r>
            <a:endParaRPr lang="en-US" sz="1400" b="1" i="0" dirty="0">
              <a:solidFill>
                <a:schemeClr val="accent2"/>
              </a:solidFill>
            </a:endParaRPr>
          </a:p>
        </p:txBody>
      </p:sp>
      <p:sp>
        <p:nvSpPr>
          <p:cNvPr id="25" name="Pfeil nach rechts 24"/>
          <p:cNvSpPr/>
          <p:nvPr/>
        </p:nvSpPr>
        <p:spPr>
          <a:xfrm>
            <a:off x="3191543" y="1880510"/>
            <a:ext cx="2844479" cy="1022523"/>
          </a:xfrm>
          <a:prstGeom prst="rightArrow">
            <a:avLst>
              <a:gd name="adj1" fmla="val 100000"/>
              <a:gd name="adj2" fmla="val 22343"/>
            </a:avLst>
          </a:prstGeom>
          <a:solidFill>
            <a:schemeClr val="accent4"/>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6" name="Pfeil nach rechts 25"/>
          <p:cNvSpPr/>
          <p:nvPr/>
        </p:nvSpPr>
        <p:spPr>
          <a:xfrm>
            <a:off x="6088715" y="1888262"/>
            <a:ext cx="2844479" cy="1022523"/>
          </a:xfrm>
          <a:prstGeom prst="rightArrow">
            <a:avLst>
              <a:gd name="adj1" fmla="val 100000"/>
              <a:gd name="adj2" fmla="val 22343"/>
            </a:avLst>
          </a:prstGeom>
          <a:solidFill>
            <a:schemeClr val="accent4"/>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27" name="Pfeil nach rechts 26"/>
          <p:cNvSpPr/>
          <p:nvPr/>
        </p:nvSpPr>
        <p:spPr>
          <a:xfrm>
            <a:off x="275280" y="1873157"/>
            <a:ext cx="2844479" cy="1022523"/>
          </a:xfrm>
          <a:prstGeom prst="rightArrow">
            <a:avLst>
              <a:gd name="adj1" fmla="val 100000"/>
              <a:gd name="adj2" fmla="val 22343"/>
            </a:avLst>
          </a:prstGeom>
          <a:solidFill>
            <a:schemeClr val="bg2"/>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pic>
        <p:nvPicPr>
          <p:cNvPr id="28" name="Grafik 27"/>
          <p:cNvPicPr>
            <a:picLocks noChangeAspect="1"/>
          </p:cNvPicPr>
          <p:nvPr/>
        </p:nvPicPr>
        <p:blipFill>
          <a:blip r:embed="rId3"/>
          <a:stretch>
            <a:fillRect/>
          </a:stretch>
        </p:blipFill>
        <p:spPr>
          <a:xfrm>
            <a:off x="4519981" y="2568180"/>
            <a:ext cx="8792" cy="7144"/>
          </a:xfrm>
          <a:prstGeom prst="rect">
            <a:avLst/>
          </a:prstGeom>
        </p:spPr>
      </p:pic>
      <p:sp>
        <p:nvSpPr>
          <p:cNvPr id="29" name="Rechteck 28"/>
          <p:cNvSpPr/>
          <p:nvPr/>
        </p:nvSpPr>
        <p:spPr>
          <a:xfrm>
            <a:off x="287270" y="1874861"/>
            <a:ext cx="2558769" cy="10338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en-US" sz="1000" dirty="0">
              <a:solidFill>
                <a:schemeClr val="tx1"/>
              </a:solidFill>
            </a:endParaRPr>
          </a:p>
        </p:txBody>
      </p:sp>
      <p:sp>
        <p:nvSpPr>
          <p:cNvPr id="30" name="Textfeld 29"/>
          <p:cNvSpPr txBox="1"/>
          <p:nvPr/>
        </p:nvSpPr>
        <p:spPr>
          <a:xfrm>
            <a:off x="445859" y="2049802"/>
            <a:ext cx="2164683" cy="724998"/>
          </a:xfrm>
          <a:prstGeom prst="rect">
            <a:avLst/>
          </a:prstGeom>
          <a:noFill/>
          <a:ln w="12700">
            <a:noFill/>
          </a:ln>
        </p:spPr>
        <p:txBody>
          <a:bodyPr wrap="square" lIns="77907" tIns="38953" rIns="77907" bIns="38953" rtlCol="0">
            <a:spAutoFit/>
          </a:bodyPr>
          <a:lstStyle/>
          <a:p>
            <a:r>
              <a:rPr lang="en-US" sz="1400" b="1" i="1" dirty="0">
                <a:solidFill>
                  <a:schemeClr val="accent6"/>
                </a:solidFill>
              </a:rPr>
              <a:t>Submission layer &amp; </a:t>
            </a:r>
          </a:p>
          <a:p>
            <a:r>
              <a:rPr lang="en-US" sz="1400" b="1" i="1" dirty="0">
                <a:solidFill>
                  <a:schemeClr val="accent6"/>
                </a:solidFill>
              </a:rPr>
              <a:t>Publication support services</a:t>
            </a:r>
          </a:p>
        </p:txBody>
      </p:sp>
      <p:sp>
        <p:nvSpPr>
          <p:cNvPr id="47" name="Pfeil nach rechts 46"/>
          <p:cNvSpPr/>
          <p:nvPr/>
        </p:nvSpPr>
        <p:spPr>
          <a:xfrm>
            <a:off x="3191543" y="1110240"/>
            <a:ext cx="2832487" cy="334309"/>
          </a:xfrm>
          <a:prstGeom prst="rightArrow">
            <a:avLst>
              <a:gd name="adj1" fmla="val 100000"/>
              <a:gd name="adj2" fmla="val 2863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8" name="Pfeil nach rechts 47"/>
          <p:cNvSpPr/>
          <p:nvPr/>
        </p:nvSpPr>
        <p:spPr>
          <a:xfrm>
            <a:off x="3182748" y="1106832"/>
            <a:ext cx="2832487" cy="334309"/>
          </a:xfrm>
          <a:prstGeom prst="rightArrow">
            <a:avLst>
              <a:gd name="adj1" fmla="val 100000"/>
              <a:gd name="adj2" fmla="val 28631"/>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49" name="Pfeil nach rechts 48"/>
          <p:cNvSpPr/>
          <p:nvPr/>
        </p:nvSpPr>
        <p:spPr>
          <a:xfrm>
            <a:off x="6088715" y="1110240"/>
            <a:ext cx="2832487" cy="334309"/>
          </a:xfrm>
          <a:prstGeom prst="rightArrow">
            <a:avLst>
              <a:gd name="adj1" fmla="val 100000"/>
              <a:gd name="adj2" fmla="val 2863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0" name="Pfeil nach rechts 49"/>
          <p:cNvSpPr/>
          <p:nvPr/>
        </p:nvSpPr>
        <p:spPr>
          <a:xfrm>
            <a:off x="287270" y="1100004"/>
            <a:ext cx="2832487" cy="334309"/>
          </a:xfrm>
          <a:prstGeom prst="rightArrow">
            <a:avLst>
              <a:gd name="adj1" fmla="val 100000"/>
              <a:gd name="adj2" fmla="val 2863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cxnSp>
        <p:nvCxnSpPr>
          <p:cNvPr id="51" name="Gerade Verbindung mit Pfeil 50"/>
          <p:cNvCxnSpPr/>
          <p:nvPr/>
        </p:nvCxnSpPr>
        <p:spPr>
          <a:xfrm>
            <a:off x="283076" y="1510344"/>
            <a:ext cx="8580884" cy="0"/>
          </a:xfrm>
          <a:prstGeom prst="straightConnector1">
            <a:avLst/>
          </a:prstGeom>
          <a:ln w="22225">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2" name="Titel 1"/>
          <p:cNvSpPr txBox="1">
            <a:spLocks/>
          </p:cNvSpPr>
          <p:nvPr/>
        </p:nvSpPr>
        <p:spPr>
          <a:xfrm>
            <a:off x="283576" y="1562527"/>
            <a:ext cx="1845118" cy="153888"/>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r>
              <a:rPr lang="en-US" sz="1000" dirty="0"/>
              <a:t>Publication continuum</a:t>
            </a:r>
          </a:p>
        </p:txBody>
      </p:sp>
      <p:sp>
        <p:nvSpPr>
          <p:cNvPr id="53" name="Rectangle 2"/>
          <p:cNvSpPr/>
          <p:nvPr/>
        </p:nvSpPr>
        <p:spPr>
          <a:xfrm>
            <a:off x="362207" y="1071809"/>
            <a:ext cx="2558769" cy="392415"/>
          </a:xfrm>
          <a:prstGeom prst="rect">
            <a:avLst/>
          </a:prstGeom>
          <a:noFill/>
        </p:spPr>
        <p:txBody>
          <a:bodyPr wrap="square" lIns="0" tIns="0" rIns="0" bIns="0" anchor="ctr" anchorCtr="0">
            <a:spAutoFit/>
          </a:bodyPr>
          <a:lstStyle/>
          <a:p>
            <a:pPr algn="ctr">
              <a:lnSpc>
                <a:spcPct val="150000"/>
              </a:lnSpc>
            </a:pPr>
            <a:r>
              <a:rPr lang="en-US" sz="1700" b="1" i="1" dirty="0">
                <a:solidFill>
                  <a:schemeClr val="accent6"/>
                </a:solidFill>
              </a:rPr>
              <a:t>Pre-publishing</a:t>
            </a:r>
          </a:p>
        </p:txBody>
      </p:sp>
      <p:sp>
        <p:nvSpPr>
          <p:cNvPr id="54" name="Rectangle 2"/>
          <p:cNvSpPr/>
          <p:nvPr/>
        </p:nvSpPr>
        <p:spPr>
          <a:xfrm>
            <a:off x="3297048" y="1073513"/>
            <a:ext cx="2558769" cy="392415"/>
          </a:xfrm>
          <a:prstGeom prst="rect">
            <a:avLst/>
          </a:prstGeom>
          <a:noFill/>
        </p:spPr>
        <p:txBody>
          <a:bodyPr wrap="square" lIns="0" tIns="0" rIns="0" bIns="0" anchor="ctr" anchorCtr="0">
            <a:spAutoFit/>
          </a:bodyPr>
          <a:lstStyle/>
          <a:p>
            <a:pPr algn="ctr">
              <a:lnSpc>
                <a:spcPct val="150000"/>
              </a:lnSpc>
            </a:pPr>
            <a:r>
              <a:rPr lang="en-US" sz="1700" b="1" i="1" dirty="0">
                <a:solidFill>
                  <a:schemeClr val="accent6"/>
                </a:solidFill>
              </a:rPr>
              <a:t>Publishing</a:t>
            </a:r>
          </a:p>
        </p:txBody>
      </p:sp>
      <p:sp>
        <p:nvSpPr>
          <p:cNvPr id="55" name="Rectangle 2"/>
          <p:cNvSpPr/>
          <p:nvPr/>
        </p:nvSpPr>
        <p:spPr>
          <a:xfrm>
            <a:off x="6165359" y="1075217"/>
            <a:ext cx="2558769" cy="392415"/>
          </a:xfrm>
          <a:prstGeom prst="rect">
            <a:avLst/>
          </a:prstGeom>
          <a:noFill/>
        </p:spPr>
        <p:txBody>
          <a:bodyPr wrap="square" lIns="0" tIns="0" rIns="0" bIns="0" anchor="ctr" anchorCtr="0">
            <a:spAutoFit/>
          </a:bodyPr>
          <a:lstStyle/>
          <a:p>
            <a:pPr algn="ctr">
              <a:lnSpc>
                <a:spcPct val="150000"/>
              </a:lnSpc>
            </a:pPr>
            <a:r>
              <a:rPr lang="en-US" sz="1700" b="1" i="1" dirty="0">
                <a:solidFill>
                  <a:schemeClr val="accent6"/>
                </a:solidFill>
              </a:rPr>
              <a:t>Post-publishing</a:t>
            </a:r>
          </a:p>
        </p:txBody>
      </p:sp>
      <p:pic>
        <p:nvPicPr>
          <p:cNvPr id="32" name="Grafik 31"/>
          <p:cNvPicPr>
            <a:picLocks noChangeAspect="1"/>
          </p:cNvPicPr>
          <p:nvPr/>
        </p:nvPicPr>
        <p:blipFill>
          <a:blip r:embed="rId4"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tretch>
            <a:fillRect/>
          </a:stretch>
        </p:blipFill>
        <p:spPr>
          <a:xfrm>
            <a:off x="7723467" y="1879060"/>
            <a:ext cx="1010428" cy="1010428"/>
          </a:xfrm>
          <a:prstGeom prst="rect">
            <a:avLst/>
          </a:prstGeom>
        </p:spPr>
      </p:pic>
      <p:grpSp>
        <p:nvGrpSpPr>
          <p:cNvPr id="33" name="Gruppieren 32"/>
          <p:cNvGrpSpPr/>
          <p:nvPr/>
        </p:nvGrpSpPr>
        <p:grpSpPr>
          <a:xfrm>
            <a:off x="4082461" y="1985625"/>
            <a:ext cx="818298" cy="818298"/>
            <a:chOff x="4130086" y="1985625"/>
            <a:chExt cx="818298" cy="818298"/>
          </a:xfrm>
        </p:grpSpPr>
        <p:pic>
          <p:nvPicPr>
            <p:cNvPr id="34" name="Grafik 33"/>
            <p:cNvPicPr>
              <a:picLocks noChangeAspect="1"/>
            </p:cNvPicPr>
            <p:nvPr/>
          </p:nvPicPr>
          <p:blipFill>
            <a:blip r:embed="rId3"/>
            <a:stretch>
              <a:fillRect/>
            </a:stretch>
          </p:blipFill>
          <p:spPr>
            <a:xfrm>
              <a:off x="4567606" y="2568180"/>
              <a:ext cx="8792" cy="7144"/>
            </a:xfrm>
            <a:prstGeom prst="rect">
              <a:avLst/>
            </a:prstGeom>
          </p:spPr>
        </p:pic>
        <p:sp>
          <p:nvSpPr>
            <p:cNvPr id="35" name="Ellipse 34"/>
            <p:cNvSpPr/>
            <p:nvPr/>
          </p:nvSpPr>
          <p:spPr>
            <a:xfrm>
              <a:off x="4166458" y="2023155"/>
              <a:ext cx="753351" cy="7386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36" name="Grafik 35"/>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30086" y="1985625"/>
              <a:ext cx="818298" cy="818298"/>
            </a:xfrm>
            <a:prstGeom prst="rect">
              <a:avLst/>
            </a:prstGeom>
          </p:spPr>
        </p:pic>
      </p:grpSp>
      <p:sp>
        <p:nvSpPr>
          <p:cNvPr id="37" name="Titel 1"/>
          <p:cNvSpPr txBox="1">
            <a:spLocks/>
          </p:cNvSpPr>
          <p:nvPr/>
        </p:nvSpPr>
        <p:spPr>
          <a:xfrm>
            <a:off x="6230159" y="2013630"/>
            <a:ext cx="2342583" cy="738664"/>
          </a:xfrm>
          <a:prstGeom prst="rect">
            <a:avLst/>
          </a:prstGeom>
        </p:spPr>
        <p:txBody>
          <a:bodyPr vert="horz" wrap="square" lIns="0" tIns="0" rIns="0" bIns="0" rtlCol="0" anchor="t">
            <a:spAutoFit/>
          </a:bodyPr>
          <a:lstStyle>
            <a:lvl1pPr algn="ctr" defTabSz="914400" rtl="0" eaLnBrk="1" latinLnBrk="0" hangingPunct="1">
              <a:spcBef>
                <a:spcPct val="0"/>
              </a:spcBef>
              <a:buNone/>
              <a:defRPr sz="2400" b="1" kern="1200" baseline="0">
                <a:solidFill>
                  <a:schemeClr val="tx2"/>
                </a:solidFill>
                <a:latin typeface="+mj-lt"/>
                <a:ea typeface="+mj-ea"/>
                <a:cs typeface="+mj-cs"/>
              </a:defRPr>
            </a:lvl1pPr>
          </a:lstStyle>
          <a:p>
            <a:pPr algn="l"/>
            <a:r>
              <a:rPr lang="en-US" sz="1200" dirty="0">
                <a:solidFill>
                  <a:schemeClr val="bg1"/>
                </a:solidFill>
              </a:rPr>
              <a:t>Open system, </a:t>
            </a:r>
            <a:br>
              <a:rPr lang="en-US" sz="1200" dirty="0">
                <a:solidFill>
                  <a:schemeClr val="bg1"/>
                </a:solidFill>
              </a:rPr>
            </a:br>
            <a:r>
              <a:rPr lang="en-US" sz="1200" dirty="0">
                <a:solidFill>
                  <a:schemeClr val="bg1"/>
                </a:solidFill>
              </a:rPr>
              <a:t>allowing </a:t>
            </a:r>
            <a:br>
              <a:rPr lang="en-US" sz="1200" dirty="0">
                <a:solidFill>
                  <a:schemeClr val="bg1"/>
                </a:solidFill>
              </a:rPr>
            </a:br>
            <a:r>
              <a:rPr lang="en-US" sz="1200" dirty="0">
                <a:solidFill>
                  <a:schemeClr val="bg1"/>
                </a:solidFill>
              </a:rPr>
              <a:t>maximum (re-)use </a:t>
            </a:r>
            <a:br>
              <a:rPr lang="en-US" sz="1200" dirty="0">
                <a:solidFill>
                  <a:schemeClr val="bg1"/>
                </a:solidFill>
              </a:rPr>
            </a:br>
            <a:r>
              <a:rPr lang="en-US" sz="1200" dirty="0">
                <a:solidFill>
                  <a:schemeClr val="bg1"/>
                </a:solidFill>
              </a:rPr>
              <a:t>and interoperability</a:t>
            </a:r>
          </a:p>
        </p:txBody>
      </p:sp>
    </p:spTree>
    <p:extLst>
      <p:ext uri="{BB962C8B-B14F-4D97-AF65-F5344CB8AC3E}">
        <p14:creationId xmlns:p14="http://schemas.microsoft.com/office/powerpoint/2010/main" val="72008959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8" name="Gerade Verbindung 17"/>
          <p:cNvCxnSpPr/>
          <p:nvPr/>
        </p:nvCxnSpPr>
        <p:spPr>
          <a:xfrm>
            <a:off x="3559507" y="4391168"/>
            <a:ext cx="4727243"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flipV="1">
            <a:off x="857250" y="4391167"/>
            <a:ext cx="2702257" cy="75233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Foliennummernplatzhalter 4"/>
          <p:cNvSpPr>
            <a:spLocks noGrp="1"/>
          </p:cNvSpPr>
          <p:nvPr>
            <p:ph type="sldNum" sz="quarter" idx="12"/>
          </p:nvPr>
        </p:nvSpPr>
        <p:spPr>
          <a:xfrm>
            <a:off x="7555832" y="4994608"/>
            <a:ext cx="580434" cy="125373"/>
          </a:xfrm>
        </p:spPr>
        <p:txBody>
          <a:bodyPr/>
          <a:lstStyle/>
          <a:p>
            <a:fld id="{4AD1E780-DE1C-4ECA-B5E5-863D0BC53287}" type="slidenum">
              <a:rPr lang="de-DE" smtClean="0">
                <a:solidFill>
                  <a:prstClr val="black">
                    <a:tint val="75000"/>
                  </a:prstClr>
                </a:solidFill>
              </a:rPr>
              <a:pPr/>
              <a:t>20</a:t>
            </a:fld>
            <a:endParaRPr lang="de-DE" dirty="0">
              <a:solidFill>
                <a:prstClr val="black">
                  <a:tint val="75000"/>
                </a:prstClr>
              </a:solidFill>
            </a:endParaRPr>
          </a:p>
        </p:txBody>
      </p:sp>
      <p:sp>
        <p:nvSpPr>
          <p:cNvPr id="3" name="Textplatzhalter 2"/>
          <p:cNvSpPr>
            <a:spLocks noGrp="1"/>
          </p:cNvSpPr>
          <p:nvPr>
            <p:ph type="body" sz="quarter" idx="13"/>
          </p:nvPr>
        </p:nvSpPr>
        <p:spPr/>
        <p:txBody>
          <a:bodyPr/>
          <a:lstStyle/>
          <a:p>
            <a:r>
              <a:rPr lang="en-US" dirty="0" smtClean="0"/>
              <a:t>The paywall system is the ‘elephant’ in the room</a:t>
            </a:r>
            <a:endParaRPr lang="en-US" dirty="0"/>
          </a:p>
        </p:txBody>
      </p:sp>
      <p:pic>
        <p:nvPicPr>
          <p:cNvPr id="5" name="Grafik 4"/>
          <p:cNvPicPr>
            <a:picLocks noChangeAspect="1"/>
          </p:cNvPicPr>
          <p:nvPr/>
        </p:nvPicPr>
        <p:blipFill rotWithShape="1">
          <a:blip r:embed="rId3">
            <a:extLst>
              <a:ext uri="{28A0092B-C50C-407E-A947-70E740481C1C}">
                <a14:useLocalDpi xmlns:a14="http://schemas.microsoft.com/office/drawing/2010/main" val="0"/>
              </a:ext>
            </a:extLst>
          </a:blip>
          <a:srcRect b="15715"/>
          <a:stretch/>
        </p:blipFill>
        <p:spPr>
          <a:xfrm>
            <a:off x="1863932" y="1349570"/>
            <a:ext cx="5657241" cy="3815362"/>
          </a:xfrm>
          <a:prstGeom prst="rect">
            <a:avLst/>
          </a:prstGeom>
          <a:noFill/>
        </p:spPr>
      </p:pic>
      <p:cxnSp>
        <p:nvCxnSpPr>
          <p:cNvPr id="14" name="Gerade Verbindung 13"/>
          <p:cNvCxnSpPr/>
          <p:nvPr/>
        </p:nvCxnSpPr>
        <p:spPr>
          <a:xfrm>
            <a:off x="3559507" y="910989"/>
            <a:ext cx="0" cy="726743"/>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p:nvCxnSpPr>
        <p:spPr>
          <a:xfrm>
            <a:off x="3559507" y="3388057"/>
            <a:ext cx="0" cy="1003111"/>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89833" y="2563345"/>
            <a:ext cx="532697" cy="532697"/>
          </a:xfrm>
          <a:prstGeom prst="rect">
            <a:avLst/>
          </a:prstGeom>
        </p:spPr>
      </p:pic>
      <p:grpSp>
        <p:nvGrpSpPr>
          <p:cNvPr id="12" name="Gruppieren 11"/>
          <p:cNvGrpSpPr/>
          <p:nvPr/>
        </p:nvGrpSpPr>
        <p:grpSpPr>
          <a:xfrm>
            <a:off x="1369519" y="1579940"/>
            <a:ext cx="988825" cy="696908"/>
            <a:chOff x="572425" y="3503572"/>
            <a:chExt cx="1318433" cy="929211"/>
          </a:xfrm>
        </p:grpSpPr>
        <p:sp>
          <p:nvSpPr>
            <p:cNvPr id="13" name="Textfeld 12"/>
            <p:cNvSpPr txBox="1"/>
            <p:nvPr/>
          </p:nvSpPr>
          <p:spPr>
            <a:xfrm>
              <a:off x="572425" y="3503572"/>
              <a:ext cx="1318433" cy="615554"/>
            </a:xfrm>
            <a:prstGeom prst="rect">
              <a:avLst/>
            </a:prstGeom>
            <a:noFill/>
            <a:ln w="12700">
              <a:noFill/>
            </a:ln>
          </p:spPr>
          <p:txBody>
            <a:bodyPr wrap="square" rtlCol="0">
              <a:spAutoFit/>
            </a:bodyPr>
            <a:lstStyle/>
            <a:p>
              <a:r>
                <a:rPr lang="en-US" sz="1200" b="1" i="1" dirty="0">
                  <a:solidFill>
                    <a:schemeClr val="accent6"/>
                  </a:solidFill>
                </a:rPr>
                <a:t>$10bn</a:t>
              </a:r>
            </a:p>
            <a:p>
              <a:r>
                <a:rPr lang="en-US" sz="1200" b="1" i="1" dirty="0">
                  <a:solidFill>
                    <a:schemeClr val="accent6"/>
                  </a:solidFill>
                </a:rPr>
                <a:t>cash flow</a:t>
              </a:r>
            </a:p>
          </p:txBody>
        </p:sp>
        <p:grpSp>
          <p:nvGrpSpPr>
            <p:cNvPr id="16" name="Gruppieren 15"/>
            <p:cNvGrpSpPr/>
            <p:nvPr/>
          </p:nvGrpSpPr>
          <p:grpSpPr>
            <a:xfrm>
              <a:off x="609494" y="4037196"/>
              <a:ext cx="1200255" cy="395587"/>
              <a:chOff x="4449686" y="4725634"/>
              <a:chExt cx="2083481" cy="800938"/>
            </a:xfrm>
          </p:grpSpPr>
          <p:pic>
            <p:nvPicPr>
              <p:cNvPr id="17" name="Grafik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54404" y="4725634"/>
                <a:ext cx="1378763" cy="730185"/>
              </a:xfrm>
              <a:prstGeom prst="rect">
                <a:avLst/>
              </a:prstGeom>
              <a:effectLst>
                <a:outerShdw blurRad="50800" dist="38100" dir="2700000" algn="tl" rotWithShape="0">
                  <a:prstClr val="black">
                    <a:alpha val="40000"/>
                  </a:prstClr>
                </a:outerShdw>
              </a:effectLst>
            </p:spPr>
          </p:pic>
          <p:pic>
            <p:nvPicPr>
              <p:cNvPr id="19" name="Grafik 1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1072779">
                <a:off x="4449686" y="4796387"/>
                <a:ext cx="1378763" cy="730185"/>
              </a:xfrm>
              <a:prstGeom prst="rect">
                <a:avLst/>
              </a:prstGeom>
              <a:effectLst>
                <a:outerShdw blurRad="50800" dist="38100" dir="2700000" algn="tl" rotWithShape="0">
                  <a:prstClr val="black">
                    <a:alpha val="40000"/>
                  </a:prstClr>
                </a:outerShdw>
              </a:effectLst>
            </p:spPr>
          </p:pic>
        </p:grpSp>
      </p:grpSp>
      <p:pic>
        <p:nvPicPr>
          <p:cNvPr id="20" name="Picture 26" descr="https://1.bp.blogspot.com/-f51Y2OWrMlY/V0nvpY9fUDI/AAAAAAAAVMM/HqnZJC8mS5s-ZuXjq0mFSuoU1fey8MXfwCLcB/s1600/scihub.png"/>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56244" y="3294341"/>
            <a:ext cx="1241268" cy="12412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297610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4"/>
          <p:cNvSpPr>
            <a:spLocks noGrp="1"/>
          </p:cNvSpPr>
          <p:nvPr>
            <p:ph type="sldNum" sz="quarter" idx="12"/>
          </p:nvPr>
        </p:nvSpPr>
        <p:spPr>
          <a:xfrm>
            <a:off x="7555832" y="4994608"/>
            <a:ext cx="580434" cy="125373"/>
          </a:xfrm>
        </p:spPr>
        <p:txBody>
          <a:bodyPr/>
          <a:lstStyle/>
          <a:p>
            <a:fld id="{4AD1E780-DE1C-4ECA-B5E5-863D0BC53287}" type="slidenum">
              <a:rPr lang="de-DE" smtClean="0">
                <a:solidFill>
                  <a:prstClr val="black">
                    <a:tint val="75000"/>
                  </a:prstClr>
                </a:solidFill>
              </a:rPr>
              <a:pPr/>
              <a:t>21</a:t>
            </a:fld>
            <a:endParaRPr lang="de-DE" dirty="0">
              <a:solidFill>
                <a:prstClr val="black">
                  <a:tint val="75000"/>
                </a:prstClr>
              </a:solidFill>
            </a:endParaRPr>
          </a:p>
        </p:txBody>
      </p:sp>
      <p:sp>
        <p:nvSpPr>
          <p:cNvPr id="9" name="Textplatzhalter 7"/>
          <p:cNvSpPr txBox="1">
            <a:spLocks/>
          </p:cNvSpPr>
          <p:nvPr/>
        </p:nvSpPr>
        <p:spPr>
          <a:xfrm>
            <a:off x="1095068" y="4769123"/>
            <a:ext cx="7049749" cy="207749"/>
          </a:xfrm>
          <a:prstGeom prst="rect">
            <a:avLst/>
          </a:prstGeom>
        </p:spPr>
        <p:txBody>
          <a:bodyPr vert="horz" wrap="square" lIns="0" tIns="0" rIns="0" bIns="0" rtlCol="0" anchor="b">
            <a:spAutoFit/>
          </a:bodyPr>
          <a:lstStyle>
            <a:lvl1pPr marL="0" indent="0" algn="l" defTabSz="914400" rtl="0" eaLnBrk="1" latinLnBrk="0" hangingPunct="1">
              <a:spcBef>
                <a:spcPts val="200"/>
              </a:spcBef>
              <a:buClr>
                <a:schemeClr val="tx2"/>
              </a:buClr>
              <a:buFont typeface="Wingdings" pitchFamily="2" charset="2"/>
              <a:buNone/>
              <a:defRPr sz="1400" kern="1200">
                <a:solidFill>
                  <a:schemeClr val="tx1"/>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400" kern="1200">
                <a:solidFill>
                  <a:schemeClr val="tx1"/>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400" kern="1200">
                <a:solidFill>
                  <a:schemeClr val="tx1"/>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400" kern="1200">
                <a:solidFill>
                  <a:schemeClr val="tx1"/>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00025" indent="-200025"/>
            <a:r>
              <a:rPr lang="de-DE" sz="675" dirty="0">
                <a:solidFill>
                  <a:schemeClr val="accent2"/>
                </a:solidFill>
              </a:rPr>
              <a:t>	</a:t>
            </a:r>
            <a:r>
              <a:rPr lang="en-US" sz="675" dirty="0">
                <a:solidFill>
                  <a:schemeClr val="accent2"/>
                </a:solidFill>
              </a:rPr>
              <a:t>John Bohannon: Who’s downloading pirated papers? Everyone, in: Science Mag, Apr. 28, 2016. </a:t>
            </a:r>
            <a:br>
              <a:rPr lang="en-US" sz="675" dirty="0">
                <a:solidFill>
                  <a:schemeClr val="accent2"/>
                </a:solidFill>
              </a:rPr>
            </a:br>
            <a:r>
              <a:rPr lang="en-US" sz="675" dirty="0">
                <a:solidFill>
                  <a:schemeClr val="accent2"/>
                </a:solidFill>
                <a:hlinkClick r:id="rId3"/>
              </a:rPr>
              <a:t>http://www.sciencemag.org/news/2016/04/whos-downloading-pirated-papers-everyone</a:t>
            </a:r>
            <a:r>
              <a:rPr lang="en-US" sz="675" dirty="0">
                <a:solidFill>
                  <a:schemeClr val="accent2"/>
                </a:solidFill>
              </a:rPr>
              <a:t> </a:t>
            </a:r>
            <a:endParaRPr lang="de-DE" sz="675" dirty="0">
              <a:solidFill>
                <a:schemeClr val="accent2"/>
              </a:solidFill>
            </a:endParaRPr>
          </a:p>
        </p:txBody>
      </p:sp>
      <p:sp>
        <p:nvSpPr>
          <p:cNvPr id="3" name="Textplatzhalter 2"/>
          <p:cNvSpPr>
            <a:spLocks noGrp="1"/>
          </p:cNvSpPr>
          <p:nvPr>
            <p:ph type="body" sz="quarter" idx="13"/>
          </p:nvPr>
        </p:nvSpPr>
        <p:spPr/>
        <p:txBody>
          <a:bodyPr/>
          <a:lstStyle/>
          <a:p>
            <a:r>
              <a:rPr lang="en-US" dirty="0" smtClean="0"/>
              <a:t>One of the many lessons of </a:t>
            </a:r>
            <a:r>
              <a:rPr lang="en-US" dirty="0" err="1" smtClean="0"/>
              <a:t>SciHub</a:t>
            </a:r>
            <a:r>
              <a:rPr lang="en-US" dirty="0" smtClean="0"/>
              <a:t>…</a:t>
            </a:r>
            <a:endParaRPr lang="en-US" dirty="0"/>
          </a:p>
        </p:txBody>
      </p:sp>
      <p:pic>
        <p:nvPicPr>
          <p:cNvPr id="19456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3019" y="1001459"/>
            <a:ext cx="6557963" cy="36933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9289008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fld id="{4AD1E780-DE1C-4ECA-B5E5-863D0BC53287}" type="slidenum">
              <a:rPr lang="de-DE" smtClean="0"/>
              <a:pPr/>
              <a:t>22</a:t>
            </a:fld>
            <a:endParaRPr lang="de-DE" dirty="0"/>
          </a:p>
        </p:txBody>
      </p:sp>
      <p:sp>
        <p:nvSpPr>
          <p:cNvPr id="9" name="Textplatzhalter 8"/>
          <p:cNvSpPr>
            <a:spLocks noGrp="1"/>
          </p:cNvSpPr>
          <p:nvPr>
            <p:ph type="body" sz="quarter" idx="13"/>
          </p:nvPr>
        </p:nvSpPr>
        <p:spPr>
          <a:xfrm>
            <a:off x="320909" y="293396"/>
            <a:ext cx="5566719" cy="523253"/>
          </a:xfrm>
        </p:spPr>
        <p:txBody>
          <a:bodyPr/>
          <a:lstStyle/>
          <a:p>
            <a:r>
              <a:rPr lang="en-US" dirty="0" smtClean="0"/>
              <a:t>…is to expose the vulnerability of the current system.</a:t>
            </a:r>
            <a:endParaRPr lang="en-US" i="1" dirty="0"/>
          </a:p>
        </p:txBody>
      </p:sp>
      <p:sp>
        <p:nvSpPr>
          <p:cNvPr id="3" name="Inhaltsplatzhalter 2"/>
          <p:cNvSpPr>
            <a:spLocks noGrp="1"/>
          </p:cNvSpPr>
          <p:nvPr>
            <p:ph idx="1"/>
          </p:nvPr>
        </p:nvSpPr>
        <p:spPr>
          <a:xfrm>
            <a:off x="1095068" y="1040896"/>
            <a:ext cx="7053570" cy="207749"/>
          </a:xfrm>
        </p:spPr>
        <p:txBody>
          <a:bodyPr/>
          <a:lstStyle/>
          <a:p>
            <a:r>
              <a:rPr lang="en-US" sz="1350" b="1" i="1" dirty="0"/>
              <a:t>The Emperor's New Clothes, </a:t>
            </a:r>
            <a:r>
              <a:rPr lang="en-US" sz="1350" dirty="0"/>
              <a:t>a fairy tale by Hans Christian Andersen, Denmark (1837)</a:t>
            </a:r>
            <a:endParaRPr lang="de-DE" sz="1350" dirty="0"/>
          </a:p>
        </p:txBody>
      </p:sp>
      <p:sp>
        <p:nvSpPr>
          <p:cNvPr id="6" name="Textplatzhalter 7"/>
          <p:cNvSpPr txBox="1">
            <a:spLocks/>
          </p:cNvSpPr>
          <p:nvPr/>
        </p:nvSpPr>
        <p:spPr>
          <a:xfrm>
            <a:off x="2292680" y="4924177"/>
            <a:ext cx="5473771" cy="103875"/>
          </a:xfrm>
          <a:prstGeom prst="rect">
            <a:avLst/>
          </a:prstGeom>
        </p:spPr>
        <p:txBody>
          <a:bodyPr vert="horz" wrap="square" lIns="0" tIns="0" rIns="0" bIns="0" rtlCol="0" anchor="b">
            <a:spAutoFit/>
          </a:bodyPr>
          <a:lstStyle>
            <a:lvl1pPr marL="0" indent="0" algn="l" defTabSz="914400" rtl="0" eaLnBrk="1" latinLnBrk="0" hangingPunct="1">
              <a:spcBef>
                <a:spcPts val="200"/>
              </a:spcBef>
              <a:buClr>
                <a:schemeClr val="tx2"/>
              </a:buClr>
              <a:buFont typeface="Wingdings" pitchFamily="2" charset="2"/>
              <a:buNone/>
              <a:defRPr sz="1400" kern="1200">
                <a:solidFill>
                  <a:schemeClr val="tx1"/>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400" kern="1200">
                <a:solidFill>
                  <a:schemeClr val="tx1"/>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400" kern="1200">
                <a:solidFill>
                  <a:schemeClr val="tx1"/>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400" kern="1200">
                <a:solidFill>
                  <a:schemeClr val="tx1"/>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7631" indent="-97631">
              <a:tabLst>
                <a:tab pos="0" algn="r"/>
                <a:tab pos="338138" algn="l"/>
              </a:tabLst>
            </a:pPr>
            <a:r>
              <a:rPr lang="de-DE" sz="675" dirty="0"/>
              <a:t>	</a:t>
            </a:r>
            <a:r>
              <a:rPr lang="de-DE" sz="675" dirty="0">
                <a:hlinkClick r:id="rId3"/>
              </a:rPr>
              <a:t>https://41.media.tumblr.com/0e1dbf83f053703568913d04a526fcb1/tumblr_inline_o3m3oc2kCO1sxr3js_540.jpg</a:t>
            </a:r>
            <a:endParaRPr lang="de-DE" sz="675" dirty="0"/>
          </a:p>
        </p:txBody>
      </p:sp>
      <p:pic>
        <p:nvPicPr>
          <p:cNvPr id="4" name="Grafik 3"/>
          <p:cNvPicPr>
            <a:picLocks noChangeAspect="1"/>
          </p:cNvPicPr>
          <p:nvPr/>
        </p:nvPicPr>
        <p:blipFill rotWithShape="1">
          <a:blip r:embed="rId4" cstate="print">
            <a:extLst>
              <a:ext uri="{28A0092B-C50C-407E-A947-70E740481C1C}">
                <a14:useLocalDpi xmlns:a14="http://schemas.microsoft.com/office/drawing/2010/main" val="0"/>
              </a:ext>
            </a:extLst>
          </a:blip>
          <a:srcRect l="795" t="1188" r="-1"/>
          <a:stretch/>
        </p:blipFill>
        <p:spPr>
          <a:xfrm>
            <a:off x="2290265" y="1313258"/>
            <a:ext cx="4299045" cy="3552453"/>
          </a:xfrm>
          <a:prstGeom prst="rect">
            <a:avLst/>
          </a:prstGeom>
        </p:spPr>
      </p:pic>
    </p:spTree>
    <p:extLst>
      <p:ext uri="{BB962C8B-B14F-4D97-AF65-F5344CB8AC3E}">
        <p14:creationId xmlns:p14="http://schemas.microsoft.com/office/powerpoint/2010/main" val="37215789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reihandform 28"/>
          <p:cNvSpPr/>
          <p:nvPr/>
        </p:nvSpPr>
        <p:spPr>
          <a:xfrm>
            <a:off x="847014" y="1729310"/>
            <a:ext cx="7439737" cy="1783478"/>
          </a:xfrm>
          <a:custGeom>
            <a:avLst/>
            <a:gdLst>
              <a:gd name="connsiteX0" fmla="*/ 0 w 9621672"/>
              <a:gd name="connsiteY0" fmla="*/ 887105 h 1705970"/>
              <a:gd name="connsiteX1" fmla="*/ 518615 w 9621672"/>
              <a:gd name="connsiteY1" fmla="*/ 368490 h 1705970"/>
              <a:gd name="connsiteX2" fmla="*/ 1050878 w 9621672"/>
              <a:gd name="connsiteY2" fmla="*/ 846161 h 1705970"/>
              <a:gd name="connsiteX3" fmla="*/ 1050878 w 9621672"/>
              <a:gd name="connsiteY3" fmla="*/ 1665027 h 1705970"/>
              <a:gd name="connsiteX4" fmla="*/ 1241947 w 9621672"/>
              <a:gd name="connsiteY4" fmla="*/ 1637731 h 1705970"/>
              <a:gd name="connsiteX5" fmla="*/ 1255594 w 9621672"/>
              <a:gd name="connsiteY5" fmla="*/ 545911 h 1705970"/>
              <a:gd name="connsiteX6" fmla="*/ 1528549 w 9621672"/>
              <a:gd name="connsiteY6" fmla="*/ 395785 h 1705970"/>
              <a:gd name="connsiteX7" fmla="*/ 1583141 w 9621672"/>
              <a:gd name="connsiteY7" fmla="*/ 559558 h 1705970"/>
              <a:gd name="connsiteX8" fmla="*/ 1869744 w 9621672"/>
              <a:gd name="connsiteY8" fmla="*/ 395785 h 1705970"/>
              <a:gd name="connsiteX9" fmla="*/ 1965278 w 9621672"/>
              <a:gd name="connsiteY9" fmla="*/ 532263 h 1705970"/>
              <a:gd name="connsiteX10" fmla="*/ 2210938 w 9621672"/>
              <a:gd name="connsiteY10" fmla="*/ 409433 h 1705970"/>
              <a:gd name="connsiteX11" fmla="*/ 2279176 w 9621672"/>
              <a:gd name="connsiteY11" fmla="*/ 559558 h 1705970"/>
              <a:gd name="connsiteX12" fmla="*/ 2238233 w 9621672"/>
              <a:gd name="connsiteY12" fmla="*/ 1705970 h 1705970"/>
              <a:gd name="connsiteX13" fmla="*/ 2784144 w 9621672"/>
              <a:gd name="connsiteY13" fmla="*/ 1678675 h 1705970"/>
              <a:gd name="connsiteX14" fmla="*/ 2797791 w 9621672"/>
              <a:gd name="connsiteY14" fmla="*/ 873457 h 1705970"/>
              <a:gd name="connsiteX15" fmla="*/ 2620370 w 9621672"/>
              <a:gd name="connsiteY15" fmla="*/ 887105 h 1705970"/>
              <a:gd name="connsiteX16" fmla="*/ 3193576 w 9621672"/>
              <a:gd name="connsiteY16" fmla="*/ 354842 h 1705970"/>
              <a:gd name="connsiteX17" fmla="*/ 3684896 w 9621672"/>
              <a:gd name="connsiteY17" fmla="*/ 818866 h 1705970"/>
              <a:gd name="connsiteX18" fmla="*/ 3493827 w 9621672"/>
              <a:gd name="connsiteY18" fmla="*/ 846161 h 1705970"/>
              <a:gd name="connsiteX19" fmla="*/ 3548418 w 9621672"/>
              <a:gd name="connsiteY19" fmla="*/ 1651379 h 1705970"/>
              <a:gd name="connsiteX20" fmla="*/ 4572000 w 9621672"/>
              <a:gd name="connsiteY20" fmla="*/ 1665027 h 1705970"/>
              <a:gd name="connsiteX21" fmla="*/ 4558352 w 9621672"/>
              <a:gd name="connsiteY21" fmla="*/ 627797 h 1705970"/>
              <a:gd name="connsiteX22" fmla="*/ 5049672 w 9621672"/>
              <a:gd name="connsiteY22" fmla="*/ 245660 h 1705970"/>
              <a:gd name="connsiteX23" fmla="*/ 5513696 w 9621672"/>
              <a:gd name="connsiteY23" fmla="*/ 655093 h 1705970"/>
              <a:gd name="connsiteX24" fmla="*/ 5991367 w 9621672"/>
              <a:gd name="connsiteY24" fmla="*/ 668740 h 1705970"/>
              <a:gd name="connsiteX25" fmla="*/ 6100549 w 9621672"/>
              <a:gd name="connsiteY25" fmla="*/ 0 h 1705970"/>
              <a:gd name="connsiteX26" fmla="*/ 6237027 w 9621672"/>
              <a:gd name="connsiteY26" fmla="*/ 655093 h 1705970"/>
              <a:gd name="connsiteX27" fmla="*/ 6673755 w 9621672"/>
              <a:gd name="connsiteY27" fmla="*/ 655093 h 1705970"/>
              <a:gd name="connsiteX28" fmla="*/ 6823881 w 9621672"/>
              <a:gd name="connsiteY28" fmla="*/ 327546 h 1705970"/>
              <a:gd name="connsiteX29" fmla="*/ 7042245 w 9621672"/>
              <a:gd name="connsiteY29" fmla="*/ 982639 h 1705970"/>
              <a:gd name="connsiteX30" fmla="*/ 7301552 w 9621672"/>
              <a:gd name="connsiteY30" fmla="*/ 450376 h 1705970"/>
              <a:gd name="connsiteX31" fmla="*/ 7792872 w 9621672"/>
              <a:gd name="connsiteY31" fmla="*/ 955343 h 1705970"/>
              <a:gd name="connsiteX32" fmla="*/ 7902054 w 9621672"/>
              <a:gd name="connsiteY32" fmla="*/ 545911 h 1705970"/>
              <a:gd name="connsiteX33" fmla="*/ 8338782 w 9621672"/>
              <a:gd name="connsiteY33" fmla="*/ 532263 h 1705970"/>
              <a:gd name="connsiteX34" fmla="*/ 8475260 w 9621672"/>
              <a:gd name="connsiteY34" fmla="*/ 191069 h 1705970"/>
              <a:gd name="connsiteX35" fmla="*/ 8748215 w 9621672"/>
              <a:gd name="connsiteY35" fmla="*/ 859809 h 1705970"/>
              <a:gd name="connsiteX36" fmla="*/ 9144000 w 9621672"/>
              <a:gd name="connsiteY36" fmla="*/ 818866 h 1705970"/>
              <a:gd name="connsiteX37" fmla="*/ 9294126 w 9621672"/>
              <a:gd name="connsiteY37" fmla="*/ 286603 h 1705970"/>
              <a:gd name="connsiteX38" fmla="*/ 9621672 w 9621672"/>
              <a:gd name="connsiteY38" fmla="*/ 914400 h 1705970"/>
              <a:gd name="connsiteX0" fmla="*/ 0 w 9621672"/>
              <a:gd name="connsiteY0" fmla="*/ 887105 h 1705970"/>
              <a:gd name="connsiteX1" fmla="*/ 518615 w 9621672"/>
              <a:gd name="connsiteY1" fmla="*/ 368490 h 1705970"/>
              <a:gd name="connsiteX2" fmla="*/ 1050878 w 9621672"/>
              <a:gd name="connsiteY2" fmla="*/ 846161 h 1705970"/>
              <a:gd name="connsiteX3" fmla="*/ 1039286 w 9621672"/>
              <a:gd name="connsiteY3" fmla="*/ 1631390 h 1705970"/>
              <a:gd name="connsiteX4" fmla="*/ 1241947 w 9621672"/>
              <a:gd name="connsiteY4" fmla="*/ 1637731 h 1705970"/>
              <a:gd name="connsiteX5" fmla="*/ 1255594 w 9621672"/>
              <a:gd name="connsiteY5" fmla="*/ 545911 h 1705970"/>
              <a:gd name="connsiteX6" fmla="*/ 1528549 w 9621672"/>
              <a:gd name="connsiteY6" fmla="*/ 395785 h 1705970"/>
              <a:gd name="connsiteX7" fmla="*/ 1583141 w 9621672"/>
              <a:gd name="connsiteY7" fmla="*/ 559558 h 1705970"/>
              <a:gd name="connsiteX8" fmla="*/ 1869744 w 9621672"/>
              <a:gd name="connsiteY8" fmla="*/ 395785 h 1705970"/>
              <a:gd name="connsiteX9" fmla="*/ 1965278 w 9621672"/>
              <a:gd name="connsiteY9" fmla="*/ 532263 h 1705970"/>
              <a:gd name="connsiteX10" fmla="*/ 2210938 w 9621672"/>
              <a:gd name="connsiteY10" fmla="*/ 409433 h 1705970"/>
              <a:gd name="connsiteX11" fmla="*/ 2279176 w 9621672"/>
              <a:gd name="connsiteY11" fmla="*/ 559558 h 1705970"/>
              <a:gd name="connsiteX12" fmla="*/ 2238233 w 9621672"/>
              <a:gd name="connsiteY12" fmla="*/ 1705970 h 1705970"/>
              <a:gd name="connsiteX13" fmla="*/ 2784144 w 9621672"/>
              <a:gd name="connsiteY13" fmla="*/ 1678675 h 1705970"/>
              <a:gd name="connsiteX14" fmla="*/ 2797791 w 9621672"/>
              <a:gd name="connsiteY14" fmla="*/ 873457 h 1705970"/>
              <a:gd name="connsiteX15" fmla="*/ 2620370 w 9621672"/>
              <a:gd name="connsiteY15" fmla="*/ 887105 h 1705970"/>
              <a:gd name="connsiteX16" fmla="*/ 3193576 w 9621672"/>
              <a:gd name="connsiteY16" fmla="*/ 354842 h 1705970"/>
              <a:gd name="connsiteX17" fmla="*/ 3684896 w 9621672"/>
              <a:gd name="connsiteY17" fmla="*/ 818866 h 1705970"/>
              <a:gd name="connsiteX18" fmla="*/ 3493827 w 9621672"/>
              <a:gd name="connsiteY18" fmla="*/ 846161 h 1705970"/>
              <a:gd name="connsiteX19" fmla="*/ 3548418 w 9621672"/>
              <a:gd name="connsiteY19" fmla="*/ 1651379 h 1705970"/>
              <a:gd name="connsiteX20" fmla="*/ 4572000 w 9621672"/>
              <a:gd name="connsiteY20" fmla="*/ 1665027 h 1705970"/>
              <a:gd name="connsiteX21" fmla="*/ 4558352 w 9621672"/>
              <a:gd name="connsiteY21" fmla="*/ 627797 h 1705970"/>
              <a:gd name="connsiteX22" fmla="*/ 5049672 w 9621672"/>
              <a:gd name="connsiteY22" fmla="*/ 245660 h 1705970"/>
              <a:gd name="connsiteX23" fmla="*/ 5513696 w 9621672"/>
              <a:gd name="connsiteY23" fmla="*/ 655093 h 1705970"/>
              <a:gd name="connsiteX24" fmla="*/ 5991367 w 9621672"/>
              <a:gd name="connsiteY24" fmla="*/ 668740 h 1705970"/>
              <a:gd name="connsiteX25" fmla="*/ 6100549 w 9621672"/>
              <a:gd name="connsiteY25" fmla="*/ 0 h 1705970"/>
              <a:gd name="connsiteX26" fmla="*/ 6237027 w 9621672"/>
              <a:gd name="connsiteY26" fmla="*/ 655093 h 1705970"/>
              <a:gd name="connsiteX27" fmla="*/ 6673755 w 9621672"/>
              <a:gd name="connsiteY27" fmla="*/ 655093 h 1705970"/>
              <a:gd name="connsiteX28" fmla="*/ 6823881 w 9621672"/>
              <a:gd name="connsiteY28" fmla="*/ 327546 h 1705970"/>
              <a:gd name="connsiteX29" fmla="*/ 7042245 w 9621672"/>
              <a:gd name="connsiteY29" fmla="*/ 982639 h 1705970"/>
              <a:gd name="connsiteX30" fmla="*/ 7301552 w 9621672"/>
              <a:gd name="connsiteY30" fmla="*/ 450376 h 1705970"/>
              <a:gd name="connsiteX31" fmla="*/ 7792872 w 9621672"/>
              <a:gd name="connsiteY31" fmla="*/ 955343 h 1705970"/>
              <a:gd name="connsiteX32" fmla="*/ 7902054 w 9621672"/>
              <a:gd name="connsiteY32" fmla="*/ 545911 h 1705970"/>
              <a:gd name="connsiteX33" fmla="*/ 8338782 w 9621672"/>
              <a:gd name="connsiteY33" fmla="*/ 532263 h 1705970"/>
              <a:gd name="connsiteX34" fmla="*/ 8475260 w 9621672"/>
              <a:gd name="connsiteY34" fmla="*/ 191069 h 1705970"/>
              <a:gd name="connsiteX35" fmla="*/ 8748215 w 9621672"/>
              <a:gd name="connsiteY35" fmla="*/ 859809 h 1705970"/>
              <a:gd name="connsiteX36" fmla="*/ 9144000 w 9621672"/>
              <a:gd name="connsiteY36" fmla="*/ 818866 h 1705970"/>
              <a:gd name="connsiteX37" fmla="*/ 9294126 w 9621672"/>
              <a:gd name="connsiteY37" fmla="*/ 286603 h 1705970"/>
              <a:gd name="connsiteX38" fmla="*/ 9621672 w 9621672"/>
              <a:gd name="connsiteY38" fmla="*/ 914400 h 1705970"/>
              <a:gd name="connsiteX0" fmla="*/ 0 w 9621672"/>
              <a:gd name="connsiteY0" fmla="*/ 887105 h 1678675"/>
              <a:gd name="connsiteX1" fmla="*/ 518615 w 9621672"/>
              <a:gd name="connsiteY1" fmla="*/ 368490 h 1678675"/>
              <a:gd name="connsiteX2" fmla="*/ 1050878 w 9621672"/>
              <a:gd name="connsiteY2" fmla="*/ 846161 h 1678675"/>
              <a:gd name="connsiteX3" fmla="*/ 1039286 w 9621672"/>
              <a:gd name="connsiteY3" fmla="*/ 1631390 h 1678675"/>
              <a:gd name="connsiteX4" fmla="*/ 1241947 w 9621672"/>
              <a:gd name="connsiteY4" fmla="*/ 1637731 h 1678675"/>
              <a:gd name="connsiteX5" fmla="*/ 1255594 w 9621672"/>
              <a:gd name="connsiteY5" fmla="*/ 545911 h 1678675"/>
              <a:gd name="connsiteX6" fmla="*/ 1528549 w 9621672"/>
              <a:gd name="connsiteY6" fmla="*/ 395785 h 1678675"/>
              <a:gd name="connsiteX7" fmla="*/ 1583141 w 9621672"/>
              <a:gd name="connsiteY7" fmla="*/ 559558 h 1678675"/>
              <a:gd name="connsiteX8" fmla="*/ 1869744 w 9621672"/>
              <a:gd name="connsiteY8" fmla="*/ 395785 h 1678675"/>
              <a:gd name="connsiteX9" fmla="*/ 1965278 w 9621672"/>
              <a:gd name="connsiteY9" fmla="*/ 532263 h 1678675"/>
              <a:gd name="connsiteX10" fmla="*/ 2210938 w 9621672"/>
              <a:gd name="connsiteY10" fmla="*/ 409433 h 1678675"/>
              <a:gd name="connsiteX11" fmla="*/ 2279176 w 9621672"/>
              <a:gd name="connsiteY11" fmla="*/ 559558 h 1678675"/>
              <a:gd name="connsiteX12" fmla="*/ 2249826 w 9621672"/>
              <a:gd name="connsiteY12" fmla="*/ 1655514 h 1678675"/>
              <a:gd name="connsiteX13" fmla="*/ 2784144 w 9621672"/>
              <a:gd name="connsiteY13" fmla="*/ 1678675 h 1678675"/>
              <a:gd name="connsiteX14" fmla="*/ 2797791 w 9621672"/>
              <a:gd name="connsiteY14" fmla="*/ 873457 h 1678675"/>
              <a:gd name="connsiteX15" fmla="*/ 2620370 w 9621672"/>
              <a:gd name="connsiteY15" fmla="*/ 887105 h 1678675"/>
              <a:gd name="connsiteX16" fmla="*/ 3193576 w 9621672"/>
              <a:gd name="connsiteY16" fmla="*/ 354842 h 1678675"/>
              <a:gd name="connsiteX17" fmla="*/ 3684896 w 9621672"/>
              <a:gd name="connsiteY17" fmla="*/ 818866 h 1678675"/>
              <a:gd name="connsiteX18" fmla="*/ 3493827 w 9621672"/>
              <a:gd name="connsiteY18" fmla="*/ 846161 h 1678675"/>
              <a:gd name="connsiteX19" fmla="*/ 3548418 w 9621672"/>
              <a:gd name="connsiteY19" fmla="*/ 1651379 h 1678675"/>
              <a:gd name="connsiteX20" fmla="*/ 4572000 w 9621672"/>
              <a:gd name="connsiteY20" fmla="*/ 1665027 h 1678675"/>
              <a:gd name="connsiteX21" fmla="*/ 4558352 w 9621672"/>
              <a:gd name="connsiteY21" fmla="*/ 627797 h 1678675"/>
              <a:gd name="connsiteX22" fmla="*/ 5049672 w 9621672"/>
              <a:gd name="connsiteY22" fmla="*/ 245660 h 1678675"/>
              <a:gd name="connsiteX23" fmla="*/ 5513696 w 9621672"/>
              <a:gd name="connsiteY23" fmla="*/ 655093 h 1678675"/>
              <a:gd name="connsiteX24" fmla="*/ 5991367 w 9621672"/>
              <a:gd name="connsiteY24" fmla="*/ 668740 h 1678675"/>
              <a:gd name="connsiteX25" fmla="*/ 6100549 w 9621672"/>
              <a:gd name="connsiteY25" fmla="*/ 0 h 1678675"/>
              <a:gd name="connsiteX26" fmla="*/ 6237027 w 9621672"/>
              <a:gd name="connsiteY26" fmla="*/ 655093 h 1678675"/>
              <a:gd name="connsiteX27" fmla="*/ 6673755 w 9621672"/>
              <a:gd name="connsiteY27" fmla="*/ 655093 h 1678675"/>
              <a:gd name="connsiteX28" fmla="*/ 6823881 w 9621672"/>
              <a:gd name="connsiteY28" fmla="*/ 327546 h 1678675"/>
              <a:gd name="connsiteX29" fmla="*/ 7042245 w 9621672"/>
              <a:gd name="connsiteY29" fmla="*/ 982639 h 1678675"/>
              <a:gd name="connsiteX30" fmla="*/ 7301552 w 9621672"/>
              <a:gd name="connsiteY30" fmla="*/ 450376 h 1678675"/>
              <a:gd name="connsiteX31" fmla="*/ 7792872 w 9621672"/>
              <a:gd name="connsiteY31" fmla="*/ 955343 h 1678675"/>
              <a:gd name="connsiteX32" fmla="*/ 7902054 w 9621672"/>
              <a:gd name="connsiteY32" fmla="*/ 545911 h 1678675"/>
              <a:gd name="connsiteX33" fmla="*/ 8338782 w 9621672"/>
              <a:gd name="connsiteY33" fmla="*/ 532263 h 1678675"/>
              <a:gd name="connsiteX34" fmla="*/ 8475260 w 9621672"/>
              <a:gd name="connsiteY34" fmla="*/ 191069 h 1678675"/>
              <a:gd name="connsiteX35" fmla="*/ 8748215 w 9621672"/>
              <a:gd name="connsiteY35" fmla="*/ 859809 h 1678675"/>
              <a:gd name="connsiteX36" fmla="*/ 9144000 w 9621672"/>
              <a:gd name="connsiteY36" fmla="*/ 818866 h 1678675"/>
              <a:gd name="connsiteX37" fmla="*/ 9294126 w 9621672"/>
              <a:gd name="connsiteY37" fmla="*/ 286603 h 1678675"/>
              <a:gd name="connsiteX38" fmla="*/ 9621672 w 9621672"/>
              <a:gd name="connsiteY38" fmla="*/ 914400 h 1678675"/>
              <a:gd name="connsiteX0" fmla="*/ 0 w 9621672"/>
              <a:gd name="connsiteY0" fmla="*/ 887105 h 1678675"/>
              <a:gd name="connsiteX1" fmla="*/ 518615 w 9621672"/>
              <a:gd name="connsiteY1" fmla="*/ 368490 h 1678675"/>
              <a:gd name="connsiteX2" fmla="*/ 1050878 w 9621672"/>
              <a:gd name="connsiteY2" fmla="*/ 846161 h 1678675"/>
              <a:gd name="connsiteX3" fmla="*/ 1039286 w 9621672"/>
              <a:gd name="connsiteY3" fmla="*/ 1631390 h 1678675"/>
              <a:gd name="connsiteX4" fmla="*/ 1241947 w 9621672"/>
              <a:gd name="connsiteY4" fmla="*/ 1637731 h 1678675"/>
              <a:gd name="connsiteX5" fmla="*/ 1255594 w 9621672"/>
              <a:gd name="connsiteY5" fmla="*/ 545911 h 1678675"/>
              <a:gd name="connsiteX6" fmla="*/ 1528549 w 9621672"/>
              <a:gd name="connsiteY6" fmla="*/ 395785 h 1678675"/>
              <a:gd name="connsiteX7" fmla="*/ 1583141 w 9621672"/>
              <a:gd name="connsiteY7" fmla="*/ 559558 h 1678675"/>
              <a:gd name="connsiteX8" fmla="*/ 1869744 w 9621672"/>
              <a:gd name="connsiteY8" fmla="*/ 395785 h 1678675"/>
              <a:gd name="connsiteX9" fmla="*/ 1965278 w 9621672"/>
              <a:gd name="connsiteY9" fmla="*/ 532263 h 1678675"/>
              <a:gd name="connsiteX10" fmla="*/ 2210938 w 9621672"/>
              <a:gd name="connsiteY10" fmla="*/ 409433 h 1678675"/>
              <a:gd name="connsiteX11" fmla="*/ 2279176 w 9621672"/>
              <a:gd name="connsiteY11" fmla="*/ 559558 h 1678675"/>
              <a:gd name="connsiteX12" fmla="*/ 2284603 w 9621672"/>
              <a:gd name="connsiteY12" fmla="*/ 1638696 h 1678675"/>
              <a:gd name="connsiteX13" fmla="*/ 2784144 w 9621672"/>
              <a:gd name="connsiteY13" fmla="*/ 1678675 h 1678675"/>
              <a:gd name="connsiteX14" fmla="*/ 2797791 w 9621672"/>
              <a:gd name="connsiteY14" fmla="*/ 873457 h 1678675"/>
              <a:gd name="connsiteX15" fmla="*/ 2620370 w 9621672"/>
              <a:gd name="connsiteY15" fmla="*/ 887105 h 1678675"/>
              <a:gd name="connsiteX16" fmla="*/ 3193576 w 9621672"/>
              <a:gd name="connsiteY16" fmla="*/ 354842 h 1678675"/>
              <a:gd name="connsiteX17" fmla="*/ 3684896 w 9621672"/>
              <a:gd name="connsiteY17" fmla="*/ 818866 h 1678675"/>
              <a:gd name="connsiteX18" fmla="*/ 3493827 w 9621672"/>
              <a:gd name="connsiteY18" fmla="*/ 846161 h 1678675"/>
              <a:gd name="connsiteX19" fmla="*/ 3548418 w 9621672"/>
              <a:gd name="connsiteY19" fmla="*/ 1651379 h 1678675"/>
              <a:gd name="connsiteX20" fmla="*/ 4572000 w 9621672"/>
              <a:gd name="connsiteY20" fmla="*/ 1665027 h 1678675"/>
              <a:gd name="connsiteX21" fmla="*/ 4558352 w 9621672"/>
              <a:gd name="connsiteY21" fmla="*/ 627797 h 1678675"/>
              <a:gd name="connsiteX22" fmla="*/ 5049672 w 9621672"/>
              <a:gd name="connsiteY22" fmla="*/ 245660 h 1678675"/>
              <a:gd name="connsiteX23" fmla="*/ 5513696 w 9621672"/>
              <a:gd name="connsiteY23" fmla="*/ 655093 h 1678675"/>
              <a:gd name="connsiteX24" fmla="*/ 5991367 w 9621672"/>
              <a:gd name="connsiteY24" fmla="*/ 668740 h 1678675"/>
              <a:gd name="connsiteX25" fmla="*/ 6100549 w 9621672"/>
              <a:gd name="connsiteY25" fmla="*/ 0 h 1678675"/>
              <a:gd name="connsiteX26" fmla="*/ 6237027 w 9621672"/>
              <a:gd name="connsiteY26" fmla="*/ 655093 h 1678675"/>
              <a:gd name="connsiteX27" fmla="*/ 6673755 w 9621672"/>
              <a:gd name="connsiteY27" fmla="*/ 655093 h 1678675"/>
              <a:gd name="connsiteX28" fmla="*/ 6823881 w 9621672"/>
              <a:gd name="connsiteY28" fmla="*/ 327546 h 1678675"/>
              <a:gd name="connsiteX29" fmla="*/ 7042245 w 9621672"/>
              <a:gd name="connsiteY29" fmla="*/ 982639 h 1678675"/>
              <a:gd name="connsiteX30" fmla="*/ 7301552 w 9621672"/>
              <a:gd name="connsiteY30" fmla="*/ 450376 h 1678675"/>
              <a:gd name="connsiteX31" fmla="*/ 7792872 w 9621672"/>
              <a:gd name="connsiteY31" fmla="*/ 955343 h 1678675"/>
              <a:gd name="connsiteX32" fmla="*/ 7902054 w 9621672"/>
              <a:gd name="connsiteY32" fmla="*/ 545911 h 1678675"/>
              <a:gd name="connsiteX33" fmla="*/ 8338782 w 9621672"/>
              <a:gd name="connsiteY33" fmla="*/ 532263 h 1678675"/>
              <a:gd name="connsiteX34" fmla="*/ 8475260 w 9621672"/>
              <a:gd name="connsiteY34" fmla="*/ 191069 h 1678675"/>
              <a:gd name="connsiteX35" fmla="*/ 8748215 w 9621672"/>
              <a:gd name="connsiteY35" fmla="*/ 859809 h 1678675"/>
              <a:gd name="connsiteX36" fmla="*/ 9144000 w 9621672"/>
              <a:gd name="connsiteY36" fmla="*/ 818866 h 1678675"/>
              <a:gd name="connsiteX37" fmla="*/ 9294126 w 9621672"/>
              <a:gd name="connsiteY37" fmla="*/ 286603 h 1678675"/>
              <a:gd name="connsiteX38" fmla="*/ 9621672 w 9621672"/>
              <a:gd name="connsiteY38" fmla="*/ 914400 h 1678675"/>
              <a:gd name="connsiteX0" fmla="*/ 0 w 9621672"/>
              <a:gd name="connsiteY0" fmla="*/ 887105 h 1678675"/>
              <a:gd name="connsiteX1" fmla="*/ 518615 w 9621672"/>
              <a:gd name="connsiteY1" fmla="*/ 368490 h 1678675"/>
              <a:gd name="connsiteX2" fmla="*/ 1050878 w 9621672"/>
              <a:gd name="connsiteY2" fmla="*/ 846161 h 1678675"/>
              <a:gd name="connsiteX3" fmla="*/ 1039286 w 9621672"/>
              <a:gd name="connsiteY3" fmla="*/ 1631390 h 1678675"/>
              <a:gd name="connsiteX4" fmla="*/ 1241947 w 9621672"/>
              <a:gd name="connsiteY4" fmla="*/ 1612503 h 1678675"/>
              <a:gd name="connsiteX5" fmla="*/ 1255594 w 9621672"/>
              <a:gd name="connsiteY5" fmla="*/ 545911 h 1678675"/>
              <a:gd name="connsiteX6" fmla="*/ 1528549 w 9621672"/>
              <a:gd name="connsiteY6" fmla="*/ 395785 h 1678675"/>
              <a:gd name="connsiteX7" fmla="*/ 1583141 w 9621672"/>
              <a:gd name="connsiteY7" fmla="*/ 559558 h 1678675"/>
              <a:gd name="connsiteX8" fmla="*/ 1869744 w 9621672"/>
              <a:gd name="connsiteY8" fmla="*/ 395785 h 1678675"/>
              <a:gd name="connsiteX9" fmla="*/ 1965278 w 9621672"/>
              <a:gd name="connsiteY9" fmla="*/ 532263 h 1678675"/>
              <a:gd name="connsiteX10" fmla="*/ 2210938 w 9621672"/>
              <a:gd name="connsiteY10" fmla="*/ 409433 h 1678675"/>
              <a:gd name="connsiteX11" fmla="*/ 2279176 w 9621672"/>
              <a:gd name="connsiteY11" fmla="*/ 559558 h 1678675"/>
              <a:gd name="connsiteX12" fmla="*/ 2284603 w 9621672"/>
              <a:gd name="connsiteY12" fmla="*/ 1638696 h 1678675"/>
              <a:gd name="connsiteX13" fmla="*/ 2784144 w 9621672"/>
              <a:gd name="connsiteY13" fmla="*/ 1678675 h 1678675"/>
              <a:gd name="connsiteX14" fmla="*/ 2797791 w 9621672"/>
              <a:gd name="connsiteY14" fmla="*/ 873457 h 1678675"/>
              <a:gd name="connsiteX15" fmla="*/ 2620370 w 9621672"/>
              <a:gd name="connsiteY15" fmla="*/ 887105 h 1678675"/>
              <a:gd name="connsiteX16" fmla="*/ 3193576 w 9621672"/>
              <a:gd name="connsiteY16" fmla="*/ 354842 h 1678675"/>
              <a:gd name="connsiteX17" fmla="*/ 3684896 w 9621672"/>
              <a:gd name="connsiteY17" fmla="*/ 818866 h 1678675"/>
              <a:gd name="connsiteX18" fmla="*/ 3493827 w 9621672"/>
              <a:gd name="connsiteY18" fmla="*/ 846161 h 1678675"/>
              <a:gd name="connsiteX19" fmla="*/ 3548418 w 9621672"/>
              <a:gd name="connsiteY19" fmla="*/ 1651379 h 1678675"/>
              <a:gd name="connsiteX20" fmla="*/ 4572000 w 9621672"/>
              <a:gd name="connsiteY20" fmla="*/ 1665027 h 1678675"/>
              <a:gd name="connsiteX21" fmla="*/ 4558352 w 9621672"/>
              <a:gd name="connsiteY21" fmla="*/ 627797 h 1678675"/>
              <a:gd name="connsiteX22" fmla="*/ 5049672 w 9621672"/>
              <a:gd name="connsiteY22" fmla="*/ 245660 h 1678675"/>
              <a:gd name="connsiteX23" fmla="*/ 5513696 w 9621672"/>
              <a:gd name="connsiteY23" fmla="*/ 655093 h 1678675"/>
              <a:gd name="connsiteX24" fmla="*/ 5991367 w 9621672"/>
              <a:gd name="connsiteY24" fmla="*/ 668740 h 1678675"/>
              <a:gd name="connsiteX25" fmla="*/ 6100549 w 9621672"/>
              <a:gd name="connsiteY25" fmla="*/ 0 h 1678675"/>
              <a:gd name="connsiteX26" fmla="*/ 6237027 w 9621672"/>
              <a:gd name="connsiteY26" fmla="*/ 655093 h 1678675"/>
              <a:gd name="connsiteX27" fmla="*/ 6673755 w 9621672"/>
              <a:gd name="connsiteY27" fmla="*/ 655093 h 1678675"/>
              <a:gd name="connsiteX28" fmla="*/ 6823881 w 9621672"/>
              <a:gd name="connsiteY28" fmla="*/ 327546 h 1678675"/>
              <a:gd name="connsiteX29" fmla="*/ 7042245 w 9621672"/>
              <a:gd name="connsiteY29" fmla="*/ 982639 h 1678675"/>
              <a:gd name="connsiteX30" fmla="*/ 7301552 w 9621672"/>
              <a:gd name="connsiteY30" fmla="*/ 450376 h 1678675"/>
              <a:gd name="connsiteX31" fmla="*/ 7792872 w 9621672"/>
              <a:gd name="connsiteY31" fmla="*/ 955343 h 1678675"/>
              <a:gd name="connsiteX32" fmla="*/ 7902054 w 9621672"/>
              <a:gd name="connsiteY32" fmla="*/ 545911 h 1678675"/>
              <a:gd name="connsiteX33" fmla="*/ 8338782 w 9621672"/>
              <a:gd name="connsiteY33" fmla="*/ 532263 h 1678675"/>
              <a:gd name="connsiteX34" fmla="*/ 8475260 w 9621672"/>
              <a:gd name="connsiteY34" fmla="*/ 191069 h 1678675"/>
              <a:gd name="connsiteX35" fmla="*/ 8748215 w 9621672"/>
              <a:gd name="connsiteY35" fmla="*/ 859809 h 1678675"/>
              <a:gd name="connsiteX36" fmla="*/ 9144000 w 9621672"/>
              <a:gd name="connsiteY36" fmla="*/ 818866 h 1678675"/>
              <a:gd name="connsiteX37" fmla="*/ 9294126 w 9621672"/>
              <a:gd name="connsiteY37" fmla="*/ 286603 h 1678675"/>
              <a:gd name="connsiteX38" fmla="*/ 9621672 w 9621672"/>
              <a:gd name="connsiteY38" fmla="*/ 914400 h 1678675"/>
              <a:gd name="connsiteX0" fmla="*/ 0 w 9621672"/>
              <a:gd name="connsiteY0" fmla="*/ 887105 h 1678675"/>
              <a:gd name="connsiteX1" fmla="*/ 518615 w 9621672"/>
              <a:gd name="connsiteY1" fmla="*/ 368490 h 1678675"/>
              <a:gd name="connsiteX2" fmla="*/ 1050878 w 9621672"/>
              <a:gd name="connsiteY2" fmla="*/ 846161 h 1678675"/>
              <a:gd name="connsiteX3" fmla="*/ 1050879 w 9621672"/>
              <a:gd name="connsiteY3" fmla="*/ 1606162 h 1678675"/>
              <a:gd name="connsiteX4" fmla="*/ 1241947 w 9621672"/>
              <a:gd name="connsiteY4" fmla="*/ 1612503 h 1678675"/>
              <a:gd name="connsiteX5" fmla="*/ 1255594 w 9621672"/>
              <a:gd name="connsiteY5" fmla="*/ 545911 h 1678675"/>
              <a:gd name="connsiteX6" fmla="*/ 1528549 w 9621672"/>
              <a:gd name="connsiteY6" fmla="*/ 395785 h 1678675"/>
              <a:gd name="connsiteX7" fmla="*/ 1583141 w 9621672"/>
              <a:gd name="connsiteY7" fmla="*/ 559558 h 1678675"/>
              <a:gd name="connsiteX8" fmla="*/ 1869744 w 9621672"/>
              <a:gd name="connsiteY8" fmla="*/ 395785 h 1678675"/>
              <a:gd name="connsiteX9" fmla="*/ 1965278 w 9621672"/>
              <a:gd name="connsiteY9" fmla="*/ 532263 h 1678675"/>
              <a:gd name="connsiteX10" fmla="*/ 2210938 w 9621672"/>
              <a:gd name="connsiteY10" fmla="*/ 409433 h 1678675"/>
              <a:gd name="connsiteX11" fmla="*/ 2279176 w 9621672"/>
              <a:gd name="connsiteY11" fmla="*/ 559558 h 1678675"/>
              <a:gd name="connsiteX12" fmla="*/ 2284603 w 9621672"/>
              <a:gd name="connsiteY12" fmla="*/ 1638696 h 1678675"/>
              <a:gd name="connsiteX13" fmla="*/ 2784144 w 9621672"/>
              <a:gd name="connsiteY13" fmla="*/ 1678675 h 1678675"/>
              <a:gd name="connsiteX14" fmla="*/ 2797791 w 9621672"/>
              <a:gd name="connsiteY14" fmla="*/ 873457 h 1678675"/>
              <a:gd name="connsiteX15" fmla="*/ 2620370 w 9621672"/>
              <a:gd name="connsiteY15" fmla="*/ 887105 h 1678675"/>
              <a:gd name="connsiteX16" fmla="*/ 3193576 w 9621672"/>
              <a:gd name="connsiteY16" fmla="*/ 354842 h 1678675"/>
              <a:gd name="connsiteX17" fmla="*/ 3684896 w 9621672"/>
              <a:gd name="connsiteY17" fmla="*/ 818866 h 1678675"/>
              <a:gd name="connsiteX18" fmla="*/ 3493827 w 9621672"/>
              <a:gd name="connsiteY18" fmla="*/ 846161 h 1678675"/>
              <a:gd name="connsiteX19" fmla="*/ 3548418 w 9621672"/>
              <a:gd name="connsiteY19" fmla="*/ 1651379 h 1678675"/>
              <a:gd name="connsiteX20" fmla="*/ 4572000 w 9621672"/>
              <a:gd name="connsiteY20" fmla="*/ 1665027 h 1678675"/>
              <a:gd name="connsiteX21" fmla="*/ 4558352 w 9621672"/>
              <a:gd name="connsiteY21" fmla="*/ 627797 h 1678675"/>
              <a:gd name="connsiteX22" fmla="*/ 5049672 w 9621672"/>
              <a:gd name="connsiteY22" fmla="*/ 245660 h 1678675"/>
              <a:gd name="connsiteX23" fmla="*/ 5513696 w 9621672"/>
              <a:gd name="connsiteY23" fmla="*/ 655093 h 1678675"/>
              <a:gd name="connsiteX24" fmla="*/ 5991367 w 9621672"/>
              <a:gd name="connsiteY24" fmla="*/ 668740 h 1678675"/>
              <a:gd name="connsiteX25" fmla="*/ 6100549 w 9621672"/>
              <a:gd name="connsiteY25" fmla="*/ 0 h 1678675"/>
              <a:gd name="connsiteX26" fmla="*/ 6237027 w 9621672"/>
              <a:gd name="connsiteY26" fmla="*/ 655093 h 1678675"/>
              <a:gd name="connsiteX27" fmla="*/ 6673755 w 9621672"/>
              <a:gd name="connsiteY27" fmla="*/ 655093 h 1678675"/>
              <a:gd name="connsiteX28" fmla="*/ 6823881 w 9621672"/>
              <a:gd name="connsiteY28" fmla="*/ 327546 h 1678675"/>
              <a:gd name="connsiteX29" fmla="*/ 7042245 w 9621672"/>
              <a:gd name="connsiteY29" fmla="*/ 982639 h 1678675"/>
              <a:gd name="connsiteX30" fmla="*/ 7301552 w 9621672"/>
              <a:gd name="connsiteY30" fmla="*/ 450376 h 1678675"/>
              <a:gd name="connsiteX31" fmla="*/ 7792872 w 9621672"/>
              <a:gd name="connsiteY31" fmla="*/ 955343 h 1678675"/>
              <a:gd name="connsiteX32" fmla="*/ 7902054 w 9621672"/>
              <a:gd name="connsiteY32" fmla="*/ 545911 h 1678675"/>
              <a:gd name="connsiteX33" fmla="*/ 8338782 w 9621672"/>
              <a:gd name="connsiteY33" fmla="*/ 532263 h 1678675"/>
              <a:gd name="connsiteX34" fmla="*/ 8475260 w 9621672"/>
              <a:gd name="connsiteY34" fmla="*/ 191069 h 1678675"/>
              <a:gd name="connsiteX35" fmla="*/ 8748215 w 9621672"/>
              <a:gd name="connsiteY35" fmla="*/ 859809 h 1678675"/>
              <a:gd name="connsiteX36" fmla="*/ 9144000 w 9621672"/>
              <a:gd name="connsiteY36" fmla="*/ 818866 h 1678675"/>
              <a:gd name="connsiteX37" fmla="*/ 9294126 w 9621672"/>
              <a:gd name="connsiteY37" fmla="*/ 286603 h 1678675"/>
              <a:gd name="connsiteX38" fmla="*/ 9621672 w 9621672"/>
              <a:gd name="connsiteY38" fmla="*/ 914400 h 1678675"/>
              <a:gd name="connsiteX0" fmla="*/ 0 w 9621672"/>
              <a:gd name="connsiteY0" fmla="*/ 887105 h 1678675"/>
              <a:gd name="connsiteX1" fmla="*/ 530207 w 9621672"/>
              <a:gd name="connsiteY1" fmla="*/ 578723 h 1678675"/>
              <a:gd name="connsiteX2" fmla="*/ 1050878 w 9621672"/>
              <a:gd name="connsiteY2" fmla="*/ 846161 h 1678675"/>
              <a:gd name="connsiteX3" fmla="*/ 1050879 w 9621672"/>
              <a:gd name="connsiteY3" fmla="*/ 1606162 h 1678675"/>
              <a:gd name="connsiteX4" fmla="*/ 1241947 w 9621672"/>
              <a:gd name="connsiteY4" fmla="*/ 1612503 h 1678675"/>
              <a:gd name="connsiteX5" fmla="*/ 1255594 w 9621672"/>
              <a:gd name="connsiteY5" fmla="*/ 545911 h 1678675"/>
              <a:gd name="connsiteX6" fmla="*/ 1528549 w 9621672"/>
              <a:gd name="connsiteY6" fmla="*/ 395785 h 1678675"/>
              <a:gd name="connsiteX7" fmla="*/ 1583141 w 9621672"/>
              <a:gd name="connsiteY7" fmla="*/ 559558 h 1678675"/>
              <a:gd name="connsiteX8" fmla="*/ 1869744 w 9621672"/>
              <a:gd name="connsiteY8" fmla="*/ 395785 h 1678675"/>
              <a:gd name="connsiteX9" fmla="*/ 1965278 w 9621672"/>
              <a:gd name="connsiteY9" fmla="*/ 532263 h 1678675"/>
              <a:gd name="connsiteX10" fmla="*/ 2210938 w 9621672"/>
              <a:gd name="connsiteY10" fmla="*/ 409433 h 1678675"/>
              <a:gd name="connsiteX11" fmla="*/ 2279176 w 9621672"/>
              <a:gd name="connsiteY11" fmla="*/ 559558 h 1678675"/>
              <a:gd name="connsiteX12" fmla="*/ 2284603 w 9621672"/>
              <a:gd name="connsiteY12" fmla="*/ 1638696 h 1678675"/>
              <a:gd name="connsiteX13" fmla="*/ 2784144 w 9621672"/>
              <a:gd name="connsiteY13" fmla="*/ 1678675 h 1678675"/>
              <a:gd name="connsiteX14" fmla="*/ 2797791 w 9621672"/>
              <a:gd name="connsiteY14" fmla="*/ 873457 h 1678675"/>
              <a:gd name="connsiteX15" fmla="*/ 2620370 w 9621672"/>
              <a:gd name="connsiteY15" fmla="*/ 887105 h 1678675"/>
              <a:gd name="connsiteX16" fmla="*/ 3193576 w 9621672"/>
              <a:gd name="connsiteY16" fmla="*/ 354842 h 1678675"/>
              <a:gd name="connsiteX17" fmla="*/ 3684896 w 9621672"/>
              <a:gd name="connsiteY17" fmla="*/ 818866 h 1678675"/>
              <a:gd name="connsiteX18" fmla="*/ 3493827 w 9621672"/>
              <a:gd name="connsiteY18" fmla="*/ 846161 h 1678675"/>
              <a:gd name="connsiteX19" fmla="*/ 3548418 w 9621672"/>
              <a:gd name="connsiteY19" fmla="*/ 1651379 h 1678675"/>
              <a:gd name="connsiteX20" fmla="*/ 4572000 w 9621672"/>
              <a:gd name="connsiteY20" fmla="*/ 1665027 h 1678675"/>
              <a:gd name="connsiteX21" fmla="*/ 4558352 w 9621672"/>
              <a:gd name="connsiteY21" fmla="*/ 627797 h 1678675"/>
              <a:gd name="connsiteX22" fmla="*/ 5049672 w 9621672"/>
              <a:gd name="connsiteY22" fmla="*/ 245660 h 1678675"/>
              <a:gd name="connsiteX23" fmla="*/ 5513696 w 9621672"/>
              <a:gd name="connsiteY23" fmla="*/ 655093 h 1678675"/>
              <a:gd name="connsiteX24" fmla="*/ 5991367 w 9621672"/>
              <a:gd name="connsiteY24" fmla="*/ 668740 h 1678675"/>
              <a:gd name="connsiteX25" fmla="*/ 6100549 w 9621672"/>
              <a:gd name="connsiteY25" fmla="*/ 0 h 1678675"/>
              <a:gd name="connsiteX26" fmla="*/ 6237027 w 9621672"/>
              <a:gd name="connsiteY26" fmla="*/ 655093 h 1678675"/>
              <a:gd name="connsiteX27" fmla="*/ 6673755 w 9621672"/>
              <a:gd name="connsiteY27" fmla="*/ 655093 h 1678675"/>
              <a:gd name="connsiteX28" fmla="*/ 6823881 w 9621672"/>
              <a:gd name="connsiteY28" fmla="*/ 327546 h 1678675"/>
              <a:gd name="connsiteX29" fmla="*/ 7042245 w 9621672"/>
              <a:gd name="connsiteY29" fmla="*/ 982639 h 1678675"/>
              <a:gd name="connsiteX30" fmla="*/ 7301552 w 9621672"/>
              <a:gd name="connsiteY30" fmla="*/ 450376 h 1678675"/>
              <a:gd name="connsiteX31" fmla="*/ 7792872 w 9621672"/>
              <a:gd name="connsiteY31" fmla="*/ 955343 h 1678675"/>
              <a:gd name="connsiteX32" fmla="*/ 7902054 w 9621672"/>
              <a:gd name="connsiteY32" fmla="*/ 545911 h 1678675"/>
              <a:gd name="connsiteX33" fmla="*/ 8338782 w 9621672"/>
              <a:gd name="connsiteY33" fmla="*/ 532263 h 1678675"/>
              <a:gd name="connsiteX34" fmla="*/ 8475260 w 9621672"/>
              <a:gd name="connsiteY34" fmla="*/ 191069 h 1678675"/>
              <a:gd name="connsiteX35" fmla="*/ 8748215 w 9621672"/>
              <a:gd name="connsiteY35" fmla="*/ 859809 h 1678675"/>
              <a:gd name="connsiteX36" fmla="*/ 9144000 w 9621672"/>
              <a:gd name="connsiteY36" fmla="*/ 818866 h 1678675"/>
              <a:gd name="connsiteX37" fmla="*/ 9294126 w 9621672"/>
              <a:gd name="connsiteY37" fmla="*/ 286603 h 1678675"/>
              <a:gd name="connsiteX38" fmla="*/ 9621672 w 9621672"/>
              <a:gd name="connsiteY38" fmla="*/ 914400 h 1678675"/>
              <a:gd name="connsiteX0" fmla="*/ 0 w 9621672"/>
              <a:gd name="connsiteY0" fmla="*/ 887105 h 1678675"/>
              <a:gd name="connsiteX1" fmla="*/ 530207 w 9621672"/>
              <a:gd name="connsiteY1" fmla="*/ 578723 h 1678675"/>
              <a:gd name="connsiteX2" fmla="*/ 1050878 w 9621672"/>
              <a:gd name="connsiteY2" fmla="*/ 846161 h 1678675"/>
              <a:gd name="connsiteX3" fmla="*/ 1050879 w 9621672"/>
              <a:gd name="connsiteY3" fmla="*/ 1606162 h 1678675"/>
              <a:gd name="connsiteX4" fmla="*/ 1241947 w 9621672"/>
              <a:gd name="connsiteY4" fmla="*/ 1612503 h 1678675"/>
              <a:gd name="connsiteX5" fmla="*/ 1255594 w 9621672"/>
              <a:gd name="connsiteY5" fmla="*/ 545911 h 1678675"/>
              <a:gd name="connsiteX6" fmla="*/ 1528549 w 9621672"/>
              <a:gd name="connsiteY6" fmla="*/ 395785 h 1678675"/>
              <a:gd name="connsiteX7" fmla="*/ 1583141 w 9621672"/>
              <a:gd name="connsiteY7" fmla="*/ 559558 h 1678675"/>
              <a:gd name="connsiteX8" fmla="*/ 1869744 w 9621672"/>
              <a:gd name="connsiteY8" fmla="*/ 395785 h 1678675"/>
              <a:gd name="connsiteX9" fmla="*/ 1965278 w 9621672"/>
              <a:gd name="connsiteY9" fmla="*/ 532263 h 1678675"/>
              <a:gd name="connsiteX10" fmla="*/ 2210938 w 9621672"/>
              <a:gd name="connsiteY10" fmla="*/ 409433 h 1678675"/>
              <a:gd name="connsiteX11" fmla="*/ 2279176 w 9621672"/>
              <a:gd name="connsiteY11" fmla="*/ 559558 h 1678675"/>
              <a:gd name="connsiteX12" fmla="*/ 2284603 w 9621672"/>
              <a:gd name="connsiteY12" fmla="*/ 1638696 h 1678675"/>
              <a:gd name="connsiteX13" fmla="*/ 2784144 w 9621672"/>
              <a:gd name="connsiteY13" fmla="*/ 1678675 h 1678675"/>
              <a:gd name="connsiteX14" fmla="*/ 2797791 w 9621672"/>
              <a:gd name="connsiteY14" fmla="*/ 873457 h 1678675"/>
              <a:gd name="connsiteX15" fmla="*/ 2620370 w 9621672"/>
              <a:gd name="connsiteY15" fmla="*/ 887105 h 1678675"/>
              <a:gd name="connsiteX16" fmla="*/ 3193576 w 9621672"/>
              <a:gd name="connsiteY16" fmla="*/ 354842 h 1678675"/>
              <a:gd name="connsiteX17" fmla="*/ 3684896 w 9621672"/>
              <a:gd name="connsiteY17" fmla="*/ 818866 h 1678675"/>
              <a:gd name="connsiteX18" fmla="*/ 3493827 w 9621672"/>
              <a:gd name="connsiteY18" fmla="*/ 846161 h 1678675"/>
              <a:gd name="connsiteX19" fmla="*/ 3548418 w 9621672"/>
              <a:gd name="connsiteY19" fmla="*/ 1651379 h 1678675"/>
              <a:gd name="connsiteX20" fmla="*/ 4560408 w 9621672"/>
              <a:gd name="connsiteY20" fmla="*/ 1673436 h 1678675"/>
              <a:gd name="connsiteX21" fmla="*/ 4558352 w 9621672"/>
              <a:gd name="connsiteY21" fmla="*/ 627797 h 1678675"/>
              <a:gd name="connsiteX22" fmla="*/ 5049672 w 9621672"/>
              <a:gd name="connsiteY22" fmla="*/ 245660 h 1678675"/>
              <a:gd name="connsiteX23" fmla="*/ 5513696 w 9621672"/>
              <a:gd name="connsiteY23" fmla="*/ 655093 h 1678675"/>
              <a:gd name="connsiteX24" fmla="*/ 5991367 w 9621672"/>
              <a:gd name="connsiteY24" fmla="*/ 668740 h 1678675"/>
              <a:gd name="connsiteX25" fmla="*/ 6100549 w 9621672"/>
              <a:gd name="connsiteY25" fmla="*/ 0 h 1678675"/>
              <a:gd name="connsiteX26" fmla="*/ 6237027 w 9621672"/>
              <a:gd name="connsiteY26" fmla="*/ 655093 h 1678675"/>
              <a:gd name="connsiteX27" fmla="*/ 6673755 w 9621672"/>
              <a:gd name="connsiteY27" fmla="*/ 655093 h 1678675"/>
              <a:gd name="connsiteX28" fmla="*/ 6823881 w 9621672"/>
              <a:gd name="connsiteY28" fmla="*/ 327546 h 1678675"/>
              <a:gd name="connsiteX29" fmla="*/ 7042245 w 9621672"/>
              <a:gd name="connsiteY29" fmla="*/ 982639 h 1678675"/>
              <a:gd name="connsiteX30" fmla="*/ 7301552 w 9621672"/>
              <a:gd name="connsiteY30" fmla="*/ 450376 h 1678675"/>
              <a:gd name="connsiteX31" fmla="*/ 7792872 w 9621672"/>
              <a:gd name="connsiteY31" fmla="*/ 955343 h 1678675"/>
              <a:gd name="connsiteX32" fmla="*/ 7902054 w 9621672"/>
              <a:gd name="connsiteY32" fmla="*/ 545911 h 1678675"/>
              <a:gd name="connsiteX33" fmla="*/ 8338782 w 9621672"/>
              <a:gd name="connsiteY33" fmla="*/ 532263 h 1678675"/>
              <a:gd name="connsiteX34" fmla="*/ 8475260 w 9621672"/>
              <a:gd name="connsiteY34" fmla="*/ 191069 h 1678675"/>
              <a:gd name="connsiteX35" fmla="*/ 8748215 w 9621672"/>
              <a:gd name="connsiteY35" fmla="*/ 859809 h 1678675"/>
              <a:gd name="connsiteX36" fmla="*/ 9144000 w 9621672"/>
              <a:gd name="connsiteY36" fmla="*/ 818866 h 1678675"/>
              <a:gd name="connsiteX37" fmla="*/ 9294126 w 9621672"/>
              <a:gd name="connsiteY37" fmla="*/ 286603 h 1678675"/>
              <a:gd name="connsiteX38" fmla="*/ 9621672 w 9621672"/>
              <a:gd name="connsiteY38" fmla="*/ 914400 h 1678675"/>
              <a:gd name="connsiteX0" fmla="*/ 0 w 9621672"/>
              <a:gd name="connsiteY0" fmla="*/ 887105 h 1678675"/>
              <a:gd name="connsiteX1" fmla="*/ 530207 w 9621672"/>
              <a:gd name="connsiteY1" fmla="*/ 578723 h 1678675"/>
              <a:gd name="connsiteX2" fmla="*/ 1050878 w 9621672"/>
              <a:gd name="connsiteY2" fmla="*/ 846161 h 1678675"/>
              <a:gd name="connsiteX3" fmla="*/ 1050879 w 9621672"/>
              <a:gd name="connsiteY3" fmla="*/ 1606162 h 1678675"/>
              <a:gd name="connsiteX4" fmla="*/ 1241947 w 9621672"/>
              <a:gd name="connsiteY4" fmla="*/ 1612503 h 1678675"/>
              <a:gd name="connsiteX5" fmla="*/ 1255594 w 9621672"/>
              <a:gd name="connsiteY5" fmla="*/ 545911 h 1678675"/>
              <a:gd name="connsiteX6" fmla="*/ 1528549 w 9621672"/>
              <a:gd name="connsiteY6" fmla="*/ 395785 h 1678675"/>
              <a:gd name="connsiteX7" fmla="*/ 1583141 w 9621672"/>
              <a:gd name="connsiteY7" fmla="*/ 559558 h 1678675"/>
              <a:gd name="connsiteX8" fmla="*/ 1869744 w 9621672"/>
              <a:gd name="connsiteY8" fmla="*/ 395785 h 1678675"/>
              <a:gd name="connsiteX9" fmla="*/ 1965278 w 9621672"/>
              <a:gd name="connsiteY9" fmla="*/ 532263 h 1678675"/>
              <a:gd name="connsiteX10" fmla="*/ 2210938 w 9621672"/>
              <a:gd name="connsiteY10" fmla="*/ 409433 h 1678675"/>
              <a:gd name="connsiteX11" fmla="*/ 2279176 w 9621672"/>
              <a:gd name="connsiteY11" fmla="*/ 559558 h 1678675"/>
              <a:gd name="connsiteX12" fmla="*/ 2284603 w 9621672"/>
              <a:gd name="connsiteY12" fmla="*/ 1638696 h 1678675"/>
              <a:gd name="connsiteX13" fmla="*/ 2784144 w 9621672"/>
              <a:gd name="connsiteY13" fmla="*/ 1678675 h 1678675"/>
              <a:gd name="connsiteX14" fmla="*/ 2797791 w 9621672"/>
              <a:gd name="connsiteY14" fmla="*/ 873457 h 1678675"/>
              <a:gd name="connsiteX15" fmla="*/ 2620370 w 9621672"/>
              <a:gd name="connsiteY15" fmla="*/ 887105 h 1678675"/>
              <a:gd name="connsiteX16" fmla="*/ 3193576 w 9621672"/>
              <a:gd name="connsiteY16" fmla="*/ 354842 h 1678675"/>
              <a:gd name="connsiteX17" fmla="*/ 3684896 w 9621672"/>
              <a:gd name="connsiteY17" fmla="*/ 818866 h 1678675"/>
              <a:gd name="connsiteX18" fmla="*/ 3493827 w 9621672"/>
              <a:gd name="connsiteY18" fmla="*/ 846161 h 1678675"/>
              <a:gd name="connsiteX19" fmla="*/ 3548418 w 9621672"/>
              <a:gd name="connsiteY19" fmla="*/ 1651379 h 1678675"/>
              <a:gd name="connsiteX20" fmla="*/ 4560408 w 9621672"/>
              <a:gd name="connsiteY20" fmla="*/ 1656617 h 1678675"/>
              <a:gd name="connsiteX21" fmla="*/ 4558352 w 9621672"/>
              <a:gd name="connsiteY21" fmla="*/ 627797 h 1678675"/>
              <a:gd name="connsiteX22" fmla="*/ 5049672 w 9621672"/>
              <a:gd name="connsiteY22" fmla="*/ 245660 h 1678675"/>
              <a:gd name="connsiteX23" fmla="*/ 5513696 w 9621672"/>
              <a:gd name="connsiteY23" fmla="*/ 655093 h 1678675"/>
              <a:gd name="connsiteX24" fmla="*/ 5991367 w 9621672"/>
              <a:gd name="connsiteY24" fmla="*/ 668740 h 1678675"/>
              <a:gd name="connsiteX25" fmla="*/ 6100549 w 9621672"/>
              <a:gd name="connsiteY25" fmla="*/ 0 h 1678675"/>
              <a:gd name="connsiteX26" fmla="*/ 6237027 w 9621672"/>
              <a:gd name="connsiteY26" fmla="*/ 655093 h 1678675"/>
              <a:gd name="connsiteX27" fmla="*/ 6673755 w 9621672"/>
              <a:gd name="connsiteY27" fmla="*/ 655093 h 1678675"/>
              <a:gd name="connsiteX28" fmla="*/ 6823881 w 9621672"/>
              <a:gd name="connsiteY28" fmla="*/ 327546 h 1678675"/>
              <a:gd name="connsiteX29" fmla="*/ 7042245 w 9621672"/>
              <a:gd name="connsiteY29" fmla="*/ 982639 h 1678675"/>
              <a:gd name="connsiteX30" fmla="*/ 7301552 w 9621672"/>
              <a:gd name="connsiteY30" fmla="*/ 450376 h 1678675"/>
              <a:gd name="connsiteX31" fmla="*/ 7792872 w 9621672"/>
              <a:gd name="connsiteY31" fmla="*/ 955343 h 1678675"/>
              <a:gd name="connsiteX32" fmla="*/ 7902054 w 9621672"/>
              <a:gd name="connsiteY32" fmla="*/ 545911 h 1678675"/>
              <a:gd name="connsiteX33" fmla="*/ 8338782 w 9621672"/>
              <a:gd name="connsiteY33" fmla="*/ 532263 h 1678675"/>
              <a:gd name="connsiteX34" fmla="*/ 8475260 w 9621672"/>
              <a:gd name="connsiteY34" fmla="*/ 191069 h 1678675"/>
              <a:gd name="connsiteX35" fmla="*/ 8748215 w 9621672"/>
              <a:gd name="connsiteY35" fmla="*/ 859809 h 1678675"/>
              <a:gd name="connsiteX36" fmla="*/ 9144000 w 9621672"/>
              <a:gd name="connsiteY36" fmla="*/ 818866 h 1678675"/>
              <a:gd name="connsiteX37" fmla="*/ 9294126 w 9621672"/>
              <a:gd name="connsiteY37" fmla="*/ 286603 h 1678675"/>
              <a:gd name="connsiteX38" fmla="*/ 9621672 w 9621672"/>
              <a:gd name="connsiteY38" fmla="*/ 914400 h 1678675"/>
              <a:gd name="connsiteX0" fmla="*/ 0 w 9621672"/>
              <a:gd name="connsiteY0" fmla="*/ 887105 h 1678675"/>
              <a:gd name="connsiteX1" fmla="*/ 530207 w 9621672"/>
              <a:gd name="connsiteY1" fmla="*/ 578723 h 1678675"/>
              <a:gd name="connsiteX2" fmla="*/ 1050878 w 9621672"/>
              <a:gd name="connsiteY2" fmla="*/ 846161 h 1678675"/>
              <a:gd name="connsiteX3" fmla="*/ 1050879 w 9621672"/>
              <a:gd name="connsiteY3" fmla="*/ 1606162 h 1678675"/>
              <a:gd name="connsiteX4" fmla="*/ 1241947 w 9621672"/>
              <a:gd name="connsiteY4" fmla="*/ 1612503 h 1678675"/>
              <a:gd name="connsiteX5" fmla="*/ 1255594 w 9621672"/>
              <a:gd name="connsiteY5" fmla="*/ 545911 h 1678675"/>
              <a:gd name="connsiteX6" fmla="*/ 1528549 w 9621672"/>
              <a:gd name="connsiteY6" fmla="*/ 395785 h 1678675"/>
              <a:gd name="connsiteX7" fmla="*/ 1583141 w 9621672"/>
              <a:gd name="connsiteY7" fmla="*/ 559558 h 1678675"/>
              <a:gd name="connsiteX8" fmla="*/ 1869744 w 9621672"/>
              <a:gd name="connsiteY8" fmla="*/ 395785 h 1678675"/>
              <a:gd name="connsiteX9" fmla="*/ 1965278 w 9621672"/>
              <a:gd name="connsiteY9" fmla="*/ 532263 h 1678675"/>
              <a:gd name="connsiteX10" fmla="*/ 2210938 w 9621672"/>
              <a:gd name="connsiteY10" fmla="*/ 409433 h 1678675"/>
              <a:gd name="connsiteX11" fmla="*/ 2279176 w 9621672"/>
              <a:gd name="connsiteY11" fmla="*/ 559558 h 1678675"/>
              <a:gd name="connsiteX12" fmla="*/ 2284603 w 9621672"/>
              <a:gd name="connsiteY12" fmla="*/ 1638696 h 1678675"/>
              <a:gd name="connsiteX13" fmla="*/ 2784144 w 9621672"/>
              <a:gd name="connsiteY13" fmla="*/ 1678675 h 1678675"/>
              <a:gd name="connsiteX14" fmla="*/ 2797791 w 9621672"/>
              <a:gd name="connsiteY14" fmla="*/ 873457 h 1678675"/>
              <a:gd name="connsiteX15" fmla="*/ 2620370 w 9621672"/>
              <a:gd name="connsiteY15" fmla="*/ 887105 h 1678675"/>
              <a:gd name="connsiteX16" fmla="*/ 3193576 w 9621672"/>
              <a:gd name="connsiteY16" fmla="*/ 354842 h 1678675"/>
              <a:gd name="connsiteX17" fmla="*/ 3684896 w 9621672"/>
              <a:gd name="connsiteY17" fmla="*/ 818866 h 1678675"/>
              <a:gd name="connsiteX18" fmla="*/ 3493827 w 9621672"/>
              <a:gd name="connsiteY18" fmla="*/ 846161 h 1678675"/>
              <a:gd name="connsiteX19" fmla="*/ 3548418 w 9621672"/>
              <a:gd name="connsiteY19" fmla="*/ 1651379 h 1678675"/>
              <a:gd name="connsiteX20" fmla="*/ 4560408 w 9621672"/>
              <a:gd name="connsiteY20" fmla="*/ 1656617 h 1678675"/>
              <a:gd name="connsiteX21" fmla="*/ 4558352 w 9621672"/>
              <a:gd name="connsiteY21" fmla="*/ 627797 h 1678675"/>
              <a:gd name="connsiteX22" fmla="*/ 5049672 w 9621672"/>
              <a:gd name="connsiteY22" fmla="*/ 245660 h 1678675"/>
              <a:gd name="connsiteX23" fmla="*/ 5513696 w 9621672"/>
              <a:gd name="connsiteY23" fmla="*/ 655093 h 1678675"/>
              <a:gd name="connsiteX24" fmla="*/ 5991367 w 9621672"/>
              <a:gd name="connsiteY24" fmla="*/ 382823 h 1678675"/>
              <a:gd name="connsiteX25" fmla="*/ 6100549 w 9621672"/>
              <a:gd name="connsiteY25" fmla="*/ 0 h 1678675"/>
              <a:gd name="connsiteX26" fmla="*/ 6237027 w 9621672"/>
              <a:gd name="connsiteY26" fmla="*/ 655093 h 1678675"/>
              <a:gd name="connsiteX27" fmla="*/ 6673755 w 9621672"/>
              <a:gd name="connsiteY27" fmla="*/ 655093 h 1678675"/>
              <a:gd name="connsiteX28" fmla="*/ 6823881 w 9621672"/>
              <a:gd name="connsiteY28" fmla="*/ 327546 h 1678675"/>
              <a:gd name="connsiteX29" fmla="*/ 7042245 w 9621672"/>
              <a:gd name="connsiteY29" fmla="*/ 982639 h 1678675"/>
              <a:gd name="connsiteX30" fmla="*/ 7301552 w 9621672"/>
              <a:gd name="connsiteY30" fmla="*/ 450376 h 1678675"/>
              <a:gd name="connsiteX31" fmla="*/ 7792872 w 9621672"/>
              <a:gd name="connsiteY31" fmla="*/ 955343 h 1678675"/>
              <a:gd name="connsiteX32" fmla="*/ 7902054 w 9621672"/>
              <a:gd name="connsiteY32" fmla="*/ 545911 h 1678675"/>
              <a:gd name="connsiteX33" fmla="*/ 8338782 w 9621672"/>
              <a:gd name="connsiteY33" fmla="*/ 532263 h 1678675"/>
              <a:gd name="connsiteX34" fmla="*/ 8475260 w 9621672"/>
              <a:gd name="connsiteY34" fmla="*/ 191069 h 1678675"/>
              <a:gd name="connsiteX35" fmla="*/ 8748215 w 9621672"/>
              <a:gd name="connsiteY35" fmla="*/ 859809 h 1678675"/>
              <a:gd name="connsiteX36" fmla="*/ 9144000 w 9621672"/>
              <a:gd name="connsiteY36" fmla="*/ 818866 h 1678675"/>
              <a:gd name="connsiteX37" fmla="*/ 9294126 w 9621672"/>
              <a:gd name="connsiteY37" fmla="*/ 286603 h 1678675"/>
              <a:gd name="connsiteX38" fmla="*/ 9621672 w 9621672"/>
              <a:gd name="connsiteY38" fmla="*/ 914400 h 1678675"/>
              <a:gd name="connsiteX0" fmla="*/ 0 w 9621672"/>
              <a:gd name="connsiteY0" fmla="*/ 696036 h 1487606"/>
              <a:gd name="connsiteX1" fmla="*/ 530207 w 9621672"/>
              <a:gd name="connsiteY1" fmla="*/ 387654 h 1487606"/>
              <a:gd name="connsiteX2" fmla="*/ 1050878 w 9621672"/>
              <a:gd name="connsiteY2" fmla="*/ 655092 h 1487606"/>
              <a:gd name="connsiteX3" fmla="*/ 1050879 w 9621672"/>
              <a:gd name="connsiteY3" fmla="*/ 1415093 h 1487606"/>
              <a:gd name="connsiteX4" fmla="*/ 1241947 w 9621672"/>
              <a:gd name="connsiteY4" fmla="*/ 1421434 h 1487606"/>
              <a:gd name="connsiteX5" fmla="*/ 1255594 w 9621672"/>
              <a:gd name="connsiteY5" fmla="*/ 354842 h 1487606"/>
              <a:gd name="connsiteX6" fmla="*/ 1528549 w 9621672"/>
              <a:gd name="connsiteY6" fmla="*/ 204716 h 1487606"/>
              <a:gd name="connsiteX7" fmla="*/ 1583141 w 9621672"/>
              <a:gd name="connsiteY7" fmla="*/ 368489 h 1487606"/>
              <a:gd name="connsiteX8" fmla="*/ 1869744 w 9621672"/>
              <a:gd name="connsiteY8" fmla="*/ 204716 h 1487606"/>
              <a:gd name="connsiteX9" fmla="*/ 1965278 w 9621672"/>
              <a:gd name="connsiteY9" fmla="*/ 341194 h 1487606"/>
              <a:gd name="connsiteX10" fmla="*/ 2210938 w 9621672"/>
              <a:gd name="connsiteY10" fmla="*/ 218364 h 1487606"/>
              <a:gd name="connsiteX11" fmla="*/ 2279176 w 9621672"/>
              <a:gd name="connsiteY11" fmla="*/ 368489 h 1487606"/>
              <a:gd name="connsiteX12" fmla="*/ 2284603 w 9621672"/>
              <a:gd name="connsiteY12" fmla="*/ 1447627 h 1487606"/>
              <a:gd name="connsiteX13" fmla="*/ 2784144 w 9621672"/>
              <a:gd name="connsiteY13" fmla="*/ 1487606 h 1487606"/>
              <a:gd name="connsiteX14" fmla="*/ 2797791 w 9621672"/>
              <a:gd name="connsiteY14" fmla="*/ 682388 h 1487606"/>
              <a:gd name="connsiteX15" fmla="*/ 2620370 w 9621672"/>
              <a:gd name="connsiteY15" fmla="*/ 696036 h 1487606"/>
              <a:gd name="connsiteX16" fmla="*/ 3193576 w 9621672"/>
              <a:gd name="connsiteY16" fmla="*/ 163773 h 1487606"/>
              <a:gd name="connsiteX17" fmla="*/ 3684896 w 9621672"/>
              <a:gd name="connsiteY17" fmla="*/ 627797 h 1487606"/>
              <a:gd name="connsiteX18" fmla="*/ 3493827 w 9621672"/>
              <a:gd name="connsiteY18" fmla="*/ 655092 h 1487606"/>
              <a:gd name="connsiteX19" fmla="*/ 3548418 w 9621672"/>
              <a:gd name="connsiteY19" fmla="*/ 1460310 h 1487606"/>
              <a:gd name="connsiteX20" fmla="*/ 4560408 w 9621672"/>
              <a:gd name="connsiteY20" fmla="*/ 1465548 h 1487606"/>
              <a:gd name="connsiteX21" fmla="*/ 4558352 w 9621672"/>
              <a:gd name="connsiteY21" fmla="*/ 436728 h 1487606"/>
              <a:gd name="connsiteX22" fmla="*/ 5049672 w 9621672"/>
              <a:gd name="connsiteY22" fmla="*/ 54591 h 1487606"/>
              <a:gd name="connsiteX23" fmla="*/ 5513696 w 9621672"/>
              <a:gd name="connsiteY23" fmla="*/ 464024 h 1487606"/>
              <a:gd name="connsiteX24" fmla="*/ 5991367 w 9621672"/>
              <a:gd name="connsiteY24" fmla="*/ 191754 h 1487606"/>
              <a:gd name="connsiteX25" fmla="*/ 6065772 w 9621672"/>
              <a:gd name="connsiteY25" fmla="*/ 843277 h 1487606"/>
              <a:gd name="connsiteX26" fmla="*/ 6237027 w 9621672"/>
              <a:gd name="connsiteY26" fmla="*/ 464024 h 1487606"/>
              <a:gd name="connsiteX27" fmla="*/ 6673755 w 9621672"/>
              <a:gd name="connsiteY27" fmla="*/ 464024 h 1487606"/>
              <a:gd name="connsiteX28" fmla="*/ 6823881 w 9621672"/>
              <a:gd name="connsiteY28" fmla="*/ 136477 h 1487606"/>
              <a:gd name="connsiteX29" fmla="*/ 7042245 w 9621672"/>
              <a:gd name="connsiteY29" fmla="*/ 791570 h 1487606"/>
              <a:gd name="connsiteX30" fmla="*/ 7301552 w 9621672"/>
              <a:gd name="connsiteY30" fmla="*/ 259307 h 1487606"/>
              <a:gd name="connsiteX31" fmla="*/ 7792872 w 9621672"/>
              <a:gd name="connsiteY31" fmla="*/ 764274 h 1487606"/>
              <a:gd name="connsiteX32" fmla="*/ 7902054 w 9621672"/>
              <a:gd name="connsiteY32" fmla="*/ 354842 h 1487606"/>
              <a:gd name="connsiteX33" fmla="*/ 8338782 w 9621672"/>
              <a:gd name="connsiteY33" fmla="*/ 341194 h 1487606"/>
              <a:gd name="connsiteX34" fmla="*/ 8475260 w 9621672"/>
              <a:gd name="connsiteY34" fmla="*/ 0 h 1487606"/>
              <a:gd name="connsiteX35" fmla="*/ 8748215 w 9621672"/>
              <a:gd name="connsiteY35" fmla="*/ 668740 h 1487606"/>
              <a:gd name="connsiteX36" fmla="*/ 9144000 w 9621672"/>
              <a:gd name="connsiteY36" fmla="*/ 627797 h 1487606"/>
              <a:gd name="connsiteX37" fmla="*/ 9294126 w 9621672"/>
              <a:gd name="connsiteY37" fmla="*/ 95534 h 1487606"/>
              <a:gd name="connsiteX38" fmla="*/ 9621672 w 9621672"/>
              <a:gd name="connsiteY38" fmla="*/ 723331 h 1487606"/>
              <a:gd name="connsiteX0" fmla="*/ 0 w 9621672"/>
              <a:gd name="connsiteY0" fmla="*/ 696036 h 1487606"/>
              <a:gd name="connsiteX1" fmla="*/ 530207 w 9621672"/>
              <a:gd name="connsiteY1" fmla="*/ 387654 h 1487606"/>
              <a:gd name="connsiteX2" fmla="*/ 1050878 w 9621672"/>
              <a:gd name="connsiteY2" fmla="*/ 655092 h 1487606"/>
              <a:gd name="connsiteX3" fmla="*/ 1050879 w 9621672"/>
              <a:gd name="connsiteY3" fmla="*/ 1415093 h 1487606"/>
              <a:gd name="connsiteX4" fmla="*/ 1241947 w 9621672"/>
              <a:gd name="connsiteY4" fmla="*/ 1421434 h 1487606"/>
              <a:gd name="connsiteX5" fmla="*/ 1255594 w 9621672"/>
              <a:gd name="connsiteY5" fmla="*/ 354842 h 1487606"/>
              <a:gd name="connsiteX6" fmla="*/ 1528549 w 9621672"/>
              <a:gd name="connsiteY6" fmla="*/ 204716 h 1487606"/>
              <a:gd name="connsiteX7" fmla="*/ 1583141 w 9621672"/>
              <a:gd name="connsiteY7" fmla="*/ 368489 h 1487606"/>
              <a:gd name="connsiteX8" fmla="*/ 1869744 w 9621672"/>
              <a:gd name="connsiteY8" fmla="*/ 204716 h 1487606"/>
              <a:gd name="connsiteX9" fmla="*/ 1965278 w 9621672"/>
              <a:gd name="connsiteY9" fmla="*/ 341194 h 1487606"/>
              <a:gd name="connsiteX10" fmla="*/ 2210938 w 9621672"/>
              <a:gd name="connsiteY10" fmla="*/ 218364 h 1487606"/>
              <a:gd name="connsiteX11" fmla="*/ 2279176 w 9621672"/>
              <a:gd name="connsiteY11" fmla="*/ 368489 h 1487606"/>
              <a:gd name="connsiteX12" fmla="*/ 2284603 w 9621672"/>
              <a:gd name="connsiteY12" fmla="*/ 1447627 h 1487606"/>
              <a:gd name="connsiteX13" fmla="*/ 2784144 w 9621672"/>
              <a:gd name="connsiteY13" fmla="*/ 1487606 h 1487606"/>
              <a:gd name="connsiteX14" fmla="*/ 2797791 w 9621672"/>
              <a:gd name="connsiteY14" fmla="*/ 682388 h 1487606"/>
              <a:gd name="connsiteX15" fmla="*/ 2620370 w 9621672"/>
              <a:gd name="connsiteY15" fmla="*/ 696036 h 1487606"/>
              <a:gd name="connsiteX16" fmla="*/ 3193576 w 9621672"/>
              <a:gd name="connsiteY16" fmla="*/ 163773 h 1487606"/>
              <a:gd name="connsiteX17" fmla="*/ 3684896 w 9621672"/>
              <a:gd name="connsiteY17" fmla="*/ 627797 h 1487606"/>
              <a:gd name="connsiteX18" fmla="*/ 3493827 w 9621672"/>
              <a:gd name="connsiteY18" fmla="*/ 655092 h 1487606"/>
              <a:gd name="connsiteX19" fmla="*/ 3548418 w 9621672"/>
              <a:gd name="connsiteY19" fmla="*/ 1460310 h 1487606"/>
              <a:gd name="connsiteX20" fmla="*/ 4560408 w 9621672"/>
              <a:gd name="connsiteY20" fmla="*/ 1465548 h 1487606"/>
              <a:gd name="connsiteX21" fmla="*/ 4558352 w 9621672"/>
              <a:gd name="connsiteY21" fmla="*/ 436728 h 1487606"/>
              <a:gd name="connsiteX22" fmla="*/ 5049672 w 9621672"/>
              <a:gd name="connsiteY22" fmla="*/ 54591 h 1487606"/>
              <a:gd name="connsiteX23" fmla="*/ 5513696 w 9621672"/>
              <a:gd name="connsiteY23" fmla="*/ 464024 h 1487606"/>
              <a:gd name="connsiteX24" fmla="*/ 5991367 w 9621672"/>
              <a:gd name="connsiteY24" fmla="*/ 191754 h 1487606"/>
              <a:gd name="connsiteX25" fmla="*/ 6065772 w 9621672"/>
              <a:gd name="connsiteY25" fmla="*/ 843277 h 1487606"/>
              <a:gd name="connsiteX26" fmla="*/ 6237027 w 9621672"/>
              <a:gd name="connsiteY26" fmla="*/ 464024 h 1487606"/>
              <a:gd name="connsiteX27" fmla="*/ 6604201 w 9621672"/>
              <a:gd name="connsiteY27" fmla="*/ 472434 h 1487606"/>
              <a:gd name="connsiteX28" fmla="*/ 6823881 w 9621672"/>
              <a:gd name="connsiteY28" fmla="*/ 136477 h 1487606"/>
              <a:gd name="connsiteX29" fmla="*/ 7042245 w 9621672"/>
              <a:gd name="connsiteY29" fmla="*/ 791570 h 1487606"/>
              <a:gd name="connsiteX30" fmla="*/ 7301552 w 9621672"/>
              <a:gd name="connsiteY30" fmla="*/ 259307 h 1487606"/>
              <a:gd name="connsiteX31" fmla="*/ 7792872 w 9621672"/>
              <a:gd name="connsiteY31" fmla="*/ 764274 h 1487606"/>
              <a:gd name="connsiteX32" fmla="*/ 7902054 w 9621672"/>
              <a:gd name="connsiteY32" fmla="*/ 354842 h 1487606"/>
              <a:gd name="connsiteX33" fmla="*/ 8338782 w 9621672"/>
              <a:gd name="connsiteY33" fmla="*/ 341194 h 1487606"/>
              <a:gd name="connsiteX34" fmla="*/ 8475260 w 9621672"/>
              <a:gd name="connsiteY34" fmla="*/ 0 h 1487606"/>
              <a:gd name="connsiteX35" fmla="*/ 8748215 w 9621672"/>
              <a:gd name="connsiteY35" fmla="*/ 668740 h 1487606"/>
              <a:gd name="connsiteX36" fmla="*/ 9144000 w 9621672"/>
              <a:gd name="connsiteY36" fmla="*/ 627797 h 1487606"/>
              <a:gd name="connsiteX37" fmla="*/ 9294126 w 9621672"/>
              <a:gd name="connsiteY37" fmla="*/ 95534 h 1487606"/>
              <a:gd name="connsiteX38" fmla="*/ 9621672 w 9621672"/>
              <a:gd name="connsiteY38" fmla="*/ 723331 h 1487606"/>
              <a:gd name="connsiteX0" fmla="*/ 0 w 9621672"/>
              <a:gd name="connsiteY0" fmla="*/ 696036 h 1487606"/>
              <a:gd name="connsiteX1" fmla="*/ 530207 w 9621672"/>
              <a:gd name="connsiteY1" fmla="*/ 387654 h 1487606"/>
              <a:gd name="connsiteX2" fmla="*/ 1050878 w 9621672"/>
              <a:gd name="connsiteY2" fmla="*/ 655092 h 1487606"/>
              <a:gd name="connsiteX3" fmla="*/ 1050879 w 9621672"/>
              <a:gd name="connsiteY3" fmla="*/ 1415093 h 1487606"/>
              <a:gd name="connsiteX4" fmla="*/ 1241947 w 9621672"/>
              <a:gd name="connsiteY4" fmla="*/ 1421434 h 1487606"/>
              <a:gd name="connsiteX5" fmla="*/ 1255594 w 9621672"/>
              <a:gd name="connsiteY5" fmla="*/ 354842 h 1487606"/>
              <a:gd name="connsiteX6" fmla="*/ 1528549 w 9621672"/>
              <a:gd name="connsiteY6" fmla="*/ 204716 h 1487606"/>
              <a:gd name="connsiteX7" fmla="*/ 1583141 w 9621672"/>
              <a:gd name="connsiteY7" fmla="*/ 368489 h 1487606"/>
              <a:gd name="connsiteX8" fmla="*/ 1869744 w 9621672"/>
              <a:gd name="connsiteY8" fmla="*/ 204716 h 1487606"/>
              <a:gd name="connsiteX9" fmla="*/ 1965278 w 9621672"/>
              <a:gd name="connsiteY9" fmla="*/ 341194 h 1487606"/>
              <a:gd name="connsiteX10" fmla="*/ 2210938 w 9621672"/>
              <a:gd name="connsiteY10" fmla="*/ 218364 h 1487606"/>
              <a:gd name="connsiteX11" fmla="*/ 2279176 w 9621672"/>
              <a:gd name="connsiteY11" fmla="*/ 368489 h 1487606"/>
              <a:gd name="connsiteX12" fmla="*/ 2284603 w 9621672"/>
              <a:gd name="connsiteY12" fmla="*/ 1447627 h 1487606"/>
              <a:gd name="connsiteX13" fmla="*/ 2784144 w 9621672"/>
              <a:gd name="connsiteY13" fmla="*/ 1487606 h 1487606"/>
              <a:gd name="connsiteX14" fmla="*/ 2797791 w 9621672"/>
              <a:gd name="connsiteY14" fmla="*/ 682388 h 1487606"/>
              <a:gd name="connsiteX15" fmla="*/ 2620370 w 9621672"/>
              <a:gd name="connsiteY15" fmla="*/ 696036 h 1487606"/>
              <a:gd name="connsiteX16" fmla="*/ 3193576 w 9621672"/>
              <a:gd name="connsiteY16" fmla="*/ 163773 h 1487606"/>
              <a:gd name="connsiteX17" fmla="*/ 3684896 w 9621672"/>
              <a:gd name="connsiteY17" fmla="*/ 627797 h 1487606"/>
              <a:gd name="connsiteX18" fmla="*/ 3493827 w 9621672"/>
              <a:gd name="connsiteY18" fmla="*/ 655092 h 1487606"/>
              <a:gd name="connsiteX19" fmla="*/ 3548418 w 9621672"/>
              <a:gd name="connsiteY19" fmla="*/ 1460310 h 1487606"/>
              <a:gd name="connsiteX20" fmla="*/ 4560408 w 9621672"/>
              <a:gd name="connsiteY20" fmla="*/ 1465548 h 1487606"/>
              <a:gd name="connsiteX21" fmla="*/ 4558352 w 9621672"/>
              <a:gd name="connsiteY21" fmla="*/ 436728 h 1487606"/>
              <a:gd name="connsiteX22" fmla="*/ 5049672 w 9621672"/>
              <a:gd name="connsiteY22" fmla="*/ 54591 h 1487606"/>
              <a:gd name="connsiteX23" fmla="*/ 5513696 w 9621672"/>
              <a:gd name="connsiteY23" fmla="*/ 464024 h 1487606"/>
              <a:gd name="connsiteX24" fmla="*/ 5991367 w 9621672"/>
              <a:gd name="connsiteY24" fmla="*/ 191754 h 1487606"/>
              <a:gd name="connsiteX25" fmla="*/ 6065772 w 9621672"/>
              <a:gd name="connsiteY25" fmla="*/ 843277 h 1487606"/>
              <a:gd name="connsiteX26" fmla="*/ 6237027 w 9621672"/>
              <a:gd name="connsiteY26" fmla="*/ 464024 h 1487606"/>
              <a:gd name="connsiteX27" fmla="*/ 6604201 w 9621672"/>
              <a:gd name="connsiteY27" fmla="*/ 472434 h 1487606"/>
              <a:gd name="connsiteX28" fmla="*/ 6823881 w 9621672"/>
              <a:gd name="connsiteY28" fmla="*/ 136477 h 1487606"/>
              <a:gd name="connsiteX29" fmla="*/ 7077022 w 9621672"/>
              <a:gd name="connsiteY29" fmla="*/ 488834 h 1487606"/>
              <a:gd name="connsiteX30" fmla="*/ 7301552 w 9621672"/>
              <a:gd name="connsiteY30" fmla="*/ 259307 h 1487606"/>
              <a:gd name="connsiteX31" fmla="*/ 7792872 w 9621672"/>
              <a:gd name="connsiteY31" fmla="*/ 764274 h 1487606"/>
              <a:gd name="connsiteX32" fmla="*/ 7902054 w 9621672"/>
              <a:gd name="connsiteY32" fmla="*/ 354842 h 1487606"/>
              <a:gd name="connsiteX33" fmla="*/ 8338782 w 9621672"/>
              <a:gd name="connsiteY33" fmla="*/ 341194 h 1487606"/>
              <a:gd name="connsiteX34" fmla="*/ 8475260 w 9621672"/>
              <a:gd name="connsiteY34" fmla="*/ 0 h 1487606"/>
              <a:gd name="connsiteX35" fmla="*/ 8748215 w 9621672"/>
              <a:gd name="connsiteY35" fmla="*/ 668740 h 1487606"/>
              <a:gd name="connsiteX36" fmla="*/ 9144000 w 9621672"/>
              <a:gd name="connsiteY36" fmla="*/ 627797 h 1487606"/>
              <a:gd name="connsiteX37" fmla="*/ 9294126 w 9621672"/>
              <a:gd name="connsiteY37" fmla="*/ 95534 h 1487606"/>
              <a:gd name="connsiteX38" fmla="*/ 9621672 w 9621672"/>
              <a:gd name="connsiteY38" fmla="*/ 723331 h 1487606"/>
              <a:gd name="connsiteX0" fmla="*/ 0 w 9621672"/>
              <a:gd name="connsiteY0" fmla="*/ 696036 h 1487606"/>
              <a:gd name="connsiteX1" fmla="*/ 530207 w 9621672"/>
              <a:gd name="connsiteY1" fmla="*/ 387654 h 1487606"/>
              <a:gd name="connsiteX2" fmla="*/ 1050878 w 9621672"/>
              <a:gd name="connsiteY2" fmla="*/ 655092 h 1487606"/>
              <a:gd name="connsiteX3" fmla="*/ 1050879 w 9621672"/>
              <a:gd name="connsiteY3" fmla="*/ 1415093 h 1487606"/>
              <a:gd name="connsiteX4" fmla="*/ 1241947 w 9621672"/>
              <a:gd name="connsiteY4" fmla="*/ 1421434 h 1487606"/>
              <a:gd name="connsiteX5" fmla="*/ 1255594 w 9621672"/>
              <a:gd name="connsiteY5" fmla="*/ 354842 h 1487606"/>
              <a:gd name="connsiteX6" fmla="*/ 1528549 w 9621672"/>
              <a:gd name="connsiteY6" fmla="*/ 204716 h 1487606"/>
              <a:gd name="connsiteX7" fmla="*/ 1583141 w 9621672"/>
              <a:gd name="connsiteY7" fmla="*/ 368489 h 1487606"/>
              <a:gd name="connsiteX8" fmla="*/ 1869744 w 9621672"/>
              <a:gd name="connsiteY8" fmla="*/ 204716 h 1487606"/>
              <a:gd name="connsiteX9" fmla="*/ 1965278 w 9621672"/>
              <a:gd name="connsiteY9" fmla="*/ 341194 h 1487606"/>
              <a:gd name="connsiteX10" fmla="*/ 2210938 w 9621672"/>
              <a:gd name="connsiteY10" fmla="*/ 218364 h 1487606"/>
              <a:gd name="connsiteX11" fmla="*/ 2279176 w 9621672"/>
              <a:gd name="connsiteY11" fmla="*/ 368489 h 1487606"/>
              <a:gd name="connsiteX12" fmla="*/ 2284603 w 9621672"/>
              <a:gd name="connsiteY12" fmla="*/ 1447627 h 1487606"/>
              <a:gd name="connsiteX13" fmla="*/ 2784144 w 9621672"/>
              <a:gd name="connsiteY13" fmla="*/ 1487606 h 1487606"/>
              <a:gd name="connsiteX14" fmla="*/ 2797791 w 9621672"/>
              <a:gd name="connsiteY14" fmla="*/ 682388 h 1487606"/>
              <a:gd name="connsiteX15" fmla="*/ 2620370 w 9621672"/>
              <a:gd name="connsiteY15" fmla="*/ 696036 h 1487606"/>
              <a:gd name="connsiteX16" fmla="*/ 3193576 w 9621672"/>
              <a:gd name="connsiteY16" fmla="*/ 163773 h 1487606"/>
              <a:gd name="connsiteX17" fmla="*/ 3684896 w 9621672"/>
              <a:gd name="connsiteY17" fmla="*/ 627797 h 1487606"/>
              <a:gd name="connsiteX18" fmla="*/ 3493827 w 9621672"/>
              <a:gd name="connsiteY18" fmla="*/ 655092 h 1487606"/>
              <a:gd name="connsiteX19" fmla="*/ 3548418 w 9621672"/>
              <a:gd name="connsiteY19" fmla="*/ 1460310 h 1487606"/>
              <a:gd name="connsiteX20" fmla="*/ 4560408 w 9621672"/>
              <a:gd name="connsiteY20" fmla="*/ 1465548 h 1487606"/>
              <a:gd name="connsiteX21" fmla="*/ 4558352 w 9621672"/>
              <a:gd name="connsiteY21" fmla="*/ 436728 h 1487606"/>
              <a:gd name="connsiteX22" fmla="*/ 5049672 w 9621672"/>
              <a:gd name="connsiteY22" fmla="*/ 54591 h 1487606"/>
              <a:gd name="connsiteX23" fmla="*/ 5513696 w 9621672"/>
              <a:gd name="connsiteY23" fmla="*/ 464024 h 1487606"/>
              <a:gd name="connsiteX24" fmla="*/ 5991367 w 9621672"/>
              <a:gd name="connsiteY24" fmla="*/ 191754 h 1487606"/>
              <a:gd name="connsiteX25" fmla="*/ 6065772 w 9621672"/>
              <a:gd name="connsiteY25" fmla="*/ 843277 h 1487606"/>
              <a:gd name="connsiteX26" fmla="*/ 6237027 w 9621672"/>
              <a:gd name="connsiteY26" fmla="*/ 464024 h 1487606"/>
              <a:gd name="connsiteX27" fmla="*/ 6604201 w 9621672"/>
              <a:gd name="connsiteY27" fmla="*/ 472434 h 1487606"/>
              <a:gd name="connsiteX28" fmla="*/ 6823881 w 9621672"/>
              <a:gd name="connsiteY28" fmla="*/ 136477 h 1487606"/>
              <a:gd name="connsiteX29" fmla="*/ 7077022 w 9621672"/>
              <a:gd name="connsiteY29" fmla="*/ 488834 h 1487606"/>
              <a:gd name="connsiteX30" fmla="*/ 7069705 w 9621672"/>
              <a:gd name="connsiteY30" fmla="*/ 1032964 h 1487606"/>
              <a:gd name="connsiteX31" fmla="*/ 7792872 w 9621672"/>
              <a:gd name="connsiteY31" fmla="*/ 764274 h 1487606"/>
              <a:gd name="connsiteX32" fmla="*/ 7902054 w 9621672"/>
              <a:gd name="connsiteY32" fmla="*/ 354842 h 1487606"/>
              <a:gd name="connsiteX33" fmla="*/ 8338782 w 9621672"/>
              <a:gd name="connsiteY33" fmla="*/ 341194 h 1487606"/>
              <a:gd name="connsiteX34" fmla="*/ 8475260 w 9621672"/>
              <a:gd name="connsiteY34" fmla="*/ 0 h 1487606"/>
              <a:gd name="connsiteX35" fmla="*/ 8748215 w 9621672"/>
              <a:gd name="connsiteY35" fmla="*/ 668740 h 1487606"/>
              <a:gd name="connsiteX36" fmla="*/ 9144000 w 9621672"/>
              <a:gd name="connsiteY36" fmla="*/ 627797 h 1487606"/>
              <a:gd name="connsiteX37" fmla="*/ 9294126 w 9621672"/>
              <a:gd name="connsiteY37" fmla="*/ 95534 h 1487606"/>
              <a:gd name="connsiteX38" fmla="*/ 9621672 w 9621672"/>
              <a:gd name="connsiteY38" fmla="*/ 723331 h 1487606"/>
              <a:gd name="connsiteX0" fmla="*/ 0 w 9621672"/>
              <a:gd name="connsiteY0" fmla="*/ 696036 h 1487606"/>
              <a:gd name="connsiteX1" fmla="*/ 530207 w 9621672"/>
              <a:gd name="connsiteY1" fmla="*/ 387654 h 1487606"/>
              <a:gd name="connsiteX2" fmla="*/ 1050878 w 9621672"/>
              <a:gd name="connsiteY2" fmla="*/ 655092 h 1487606"/>
              <a:gd name="connsiteX3" fmla="*/ 1050879 w 9621672"/>
              <a:gd name="connsiteY3" fmla="*/ 1415093 h 1487606"/>
              <a:gd name="connsiteX4" fmla="*/ 1241947 w 9621672"/>
              <a:gd name="connsiteY4" fmla="*/ 1421434 h 1487606"/>
              <a:gd name="connsiteX5" fmla="*/ 1255594 w 9621672"/>
              <a:gd name="connsiteY5" fmla="*/ 354842 h 1487606"/>
              <a:gd name="connsiteX6" fmla="*/ 1528549 w 9621672"/>
              <a:gd name="connsiteY6" fmla="*/ 204716 h 1487606"/>
              <a:gd name="connsiteX7" fmla="*/ 1583141 w 9621672"/>
              <a:gd name="connsiteY7" fmla="*/ 368489 h 1487606"/>
              <a:gd name="connsiteX8" fmla="*/ 1869744 w 9621672"/>
              <a:gd name="connsiteY8" fmla="*/ 204716 h 1487606"/>
              <a:gd name="connsiteX9" fmla="*/ 1965278 w 9621672"/>
              <a:gd name="connsiteY9" fmla="*/ 341194 h 1487606"/>
              <a:gd name="connsiteX10" fmla="*/ 2210938 w 9621672"/>
              <a:gd name="connsiteY10" fmla="*/ 218364 h 1487606"/>
              <a:gd name="connsiteX11" fmla="*/ 2279176 w 9621672"/>
              <a:gd name="connsiteY11" fmla="*/ 368489 h 1487606"/>
              <a:gd name="connsiteX12" fmla="*/ 2284603 w 9621672"/>
              <a:gd name="connsiteY12" fmla="*/ 1447627 h 1487606"/>
              <a:gd name="connsiteX13" fmla="*/ 2784144 w 9621672"/>
              <a:gd name="connsiteY13" fmla="*/ 1487606 h 1487606"/>
              <a:gd name="connsiteX14" fmla="*/ 2797791 w 9621672"/>
              <a:gd name="connsiteY14" fmla="*/ 682388 h 1487606"/>
              <a:gd name="connsiteX15" fmla="*/ 2620370 w 9621672"/>
              <a:gd name="connsiteY15" fmla="*/ 696036 h 1487606"/>
              <a:gd name="connsiteX16" fmla="*/ 3193576 w 9621672"/>
              <a:gd name="connsiteY16" fmla="*/ 163773 h 1487606"/>
              <a:gd name="connsiteX17" fmla="*/ 3684896 w 9621672"/>
              <a:gd name="connsiteY17" fmla="*/ 627797 h 1487606"/>
              <a:gd name="connsiteX18" fmla="*/ 3493827 w 9621672"/>
              <a:gd name="connsiteY18" fmla="*/ 655092 h 1487606"/>
              <a:gd name="connsiteX19" fmla="*/ 3548418 w 9621672"/>
              <a:gd name="connsiteY19" fmla="*/ 1460310 h 1487606"/>
              <a:gd name="connsiteX20" fmla="*/ 4560408 w 9621672"/>
              <a:gd name="connsiteY20" fmla="*/ 1465548 h 1487606"/>
              <a:gd name="connsiteX21" fmla="*/ 4558352 w 9621672"/>
              <a:gd name="connsiteY21" fmla="*/ 436728 h 1487606"/>
              <a:gd name="connsiteX22" fmla="*/ 5049672 w 9621672"/>
              <a:gd name="connsiteY22" fmla="*/ 54591 h 1487606"/>
              <a:gd name="connsiteX23" fmla="*/ 5513696 w 9621672"/>
              <a:gd name="connsiteY23" fmla="*/ 464024 h 1487606"/>
              <a:gd name="connsiteX24" fmla="*/ 5991367 w 9621672"/>
              <a:gd name="connsiteY24" fmla="*/ 191754 h 1487606"/>
              <a:gd name="connsiteX25" fmla="*/ 6065772 w 9621672"/>
              <a:gd name="connsiteY25" fmla="*/ 843277 h 1487606"/>
              <a:gd name="connsiteX26" fmla="*/ 6237027 w 9621672"/>
              <a:gd name="connsiteY26" fmla="*/ 464024 h 1487606"/>
              <a:gd name="connsiteX27" fmla="*/ 6604201 w 9621672"/>
              <a:gd name="connsiteY27" fmla="*/ 472434 h 1487606"/>
              <a:gd name="connsiteX28" fmla="*/ 6823881 w 9621672"/>
              <a:gd name="connsiteY28" fmla="*/ 136477 h 1487606"/>
              <a:gd name="connsiteX29" fmla="*/ 7077022 w 9621672"/>
              <a:gd name="connsiteY29" fmla="*/ 488834 h 1487606"/>
              <a:gd name="connsiteX30" fmla="*/ 7069705 w 9621672"/>
              <a:gd name="connsiteY30" fmla="*/ 1032964 h 1487606"/>
              <a:gd name="connsiteX31" fmla="*/ 7781280 w 9621672"/>
              <a:gd name="connsiteY31" fmla="*/ 1041782 h 1487606"/>
              <a:gd name="connsiteX32" fmla="*/ 7902054 w 9621672"/>
              <a:gd name="connsiteY32" fmla="*/ 354842 h 1487606"/>
              <a:gd name="connsiteX33" fmla="*/ 8338782 w 9621672"/>
              <a:gd name="connsiteY33" fmla="*/ 341194 h 1487606"/>
              <a:gd name="connsiteX34" fmla="*/ 8475260 w 9621672"/>
              <a:gd name="connsiteY34" fmla="*/ 0 h 1487606"/>
              <a:gd name="connsiteX35" fmla="*/ 8748215 w 9621672"/>
              <a:gd name="connsiteY35" fmla="*/ 668740 h 1487606"/>
              <a:gd name="connsiteX36" fmla="*/ 9144000 w 9621672"/>
              <a:gd name="connsiteY36" fmla="*/ 627797 h 1487606"/>
              <a:gd name="connsiteX37" fmla="*/ 9294126 w 9621672"/>
              <a:gd name="connsiteY37" fmla="*/ 95534 h 1487606"/>
              <a:gd name="connsiteX38" fmla="*/ 9621672 w 9621672"/>
              <a:gd name="connsiteY38" fmla="*/ 723331 h 1487606"/>
              <a:gd name="connsiteX0" fmla="*/ 0 w 9621672"/>
              <a:gd name="connsiteY0" fmla="*/ 696036 h 1487606"/>
              <a:gd name="connsiteX1" fmla="*/ 530207 w 9621672"/>
              <a:gd name="connsiteY1" fmla="*/ 387654 h 1487606"/>
              <a:gd name="connsiteX2" fmla="*/ 1050878 w 9621672"/>
              <a:gd name="connsiteY2" fmla="*/ 655092 h 1487606"/>
              <a:gd name="connsiteX3" fmla="*/ 1050879 w 9621672"/>
              <a:gd name="connsiteY3" fmla="*/ 1415093 h 1487606"/>
              <a:gd name="connsiteX4" fmla="*/ 1241947 w 9621672"/>
              <a:gd name="connsiteY4" fmla="*/ 1421434 h 1487606"/>
              <a:gd name="connsiteX5" fmla="*/ 1255594 w 9621672"/>
              <a:gd name="connsiteY5" fmla="*/ 354842 h 1487606"/>
              <a:gd name="connsiteX6" fmla="*/ 1528549 w 9621672"/>
              <a:gd name="connsiteY6" fmla="*/ 204716 h 1487606"/>
              <a:gd name="connsiteX7" fmla="*/ 1583141 w 9621672"/>
              <a:gd name="connsiteY7" fmla="*/ 368489 h 1487606"/>
              <a:gd name="connsiteX8" fmla="*/ 1869744 w 9621672"/>
              <a:gd name="connsiteY8" fmla="*/ 204716 h 1487606"/>
              <a:gd name="connsiteX9" fmla="*/ 1965278 w 9621672"/>
              <a:gd name="connsiteY9" fmla="*/ 341194 h 1487606"/>
              <a:gd name="connsiteX10" fmla="*/ 2210938 w 9621672"/>
              <a:gd name="connsiteY10" fmla="*/ 218364 h 1487606"/>
              <a:gd name="connsiteX11" fmla="*/ 2279176 w 9621672"/>
              <a:gd name="connsiteY11" fmla="*/ 368489 h 1487606"/>
              <a:gd name="connsiteX12" fmla="*/ 2284603 w 9621672"/>
              <a:gd name="connsiteY12" fmla="*/ 1447627 h 1487606"/>
              <a:gd name="connsiteX13" fmla="*/ 2784144 w 9621672"/>
              <a:gd name="connsiteY13" fmla="*/ 1487606 h 1487606"/>
              <a:gd name="connsiteX14" fmla="*/ 2797791 w 9621672"/>
              <a:gd name="connsiteY14" fmla="*/ 682388 h 1487606"/>
              <a:gd name="connsiteX15" fmla="*/ 2620370 w 9621672"/>
              <a:gd name="connsiteY15" fmla="*/ 696036 h 1487606"/>
              <a:gd name="connsiteX16" fmla="*/ 3193576 w 9621672"/>
              <a:gd name="connsiteY16" fmla="*/ 163773 h 1487606"/>
              <a:gd name="connsiteX17" fmla="*/ 3684896 w 9621672"/>
              <a:gd name="connsiteY17" fmla="*/ 627797 h 1487606"/>
              <a:gd name="connsiteX18" fmla="*/ 3493827 w 9621672"/>
              <a:gd name="connsiteY18" fmla="*/ 655092 h 1487606"/>
              <a:gd name="connsiteX19" fmla="*/ 3548418 w 9621672"/>
              <a:gd name="connsiteY19" fmla="*/ 1460310 h 1487606"/>
              <a:gd name="connsiteX20" fmla="*/ 4560408 w 9621672"/>
              <a:gd name="connsiteY20" fmla="*/ 1465548 h 1487606"/>
              <a:gd name="connsiteX21" fmla="*/ 4558352 w 9621672"/>
              <a:gd name="connsiteY21" fmla="*/ 436728 h 1487606"/>
              <a:gd name="connsiteX22" fmla="*/ 5049672 w 9621672"/>
              <a:gd name="connsiteY22" fmla="*/ 54591 h 1487606"/>
              <a:gd name="connsiteX23" fmla="*/ 5513696 w 9621672"/>
              <a:gd name="connsiteY23" fmla="*/ 464024 h 1487606"/>
              <a:gd name="connsiteX24" fmla="*/ 5991367 w 9621672"/>
              <a:gd name="connsiteY24" fmla="*/ 191754 h 1487606"/>
              <a:gd name="connsiteX25" fmla="*/ 6065772 w 9621672"/>
              <a:gd name="connsiteY25" fmla="*/ 843277 h 1487606"/>
              <a:gd name="connsiteX26" fmla="*/ 6237027 w 9621672"/>
              <a:gd name="connsiteY26" fmla="*/ 464024 h 1487606"/>
              <a:gd name="connsiteX27" fmla="*/ 6604201 w 9621672"/>
              <a:gd name="connsiteY27" fmla="*/ 472434 h 1487606"/>
              <a:gd name="connsiteX28" fmla="*/ 6823881 w 9621672"/>
              <a:gd name="connsiteY28" fmla="*/ 136477 h 1487606"/>
              <a:gd name="connsiteX29" fmla="*/ 7077022 w 9621672"/>
              <a:gd name="connsiteY29" fmla="*/ 488834 h 1487606"/>
              <a:gd name="connsiteX30" fmla="*/ 7069705 w 9621672"/>
              <a:gd name="connsiteY30" fmla="*/ 1032964 h 1487606"/>
              <a:gd name="connsiteX31" fmla="*/ 7781280 w 9621672"/>
              <a:gd name="connsiteY31" fmla="*/ 1041782 h 1487606"/>
              <a:gd name="connsiteX32" fmla="*/ 7774539 w 9621672"/>
              <a:gd name="connsiteY32" fmla="*/ 363251 h 1487606"/>
              <a:gd name="connsiteX33" fmla="*/ 8338782 w 9621672"/>
              <a:gd name="connsiteY33" fmla="*/ 341194 h 1487606"/>
              <a:gd name="connsiteX34" fmla="*/ 8475260 w 9621672"/>
              <a:gd name="connsiteY34" fmla="*/ 0 h 1487606"/>
              <a:gd name="connsiteX35" fmla="*/ 8748215 w 9621672"/>
              <a:gd name="connsiteY35" fmla="*/ 668740 h 1487606"/>
              <a:gd name="connsiteX36" fmla="*/ 9144000 w 9621672"/>
              <a:gd name="connsiteY36" fmla="*/ 627797 h 1487606"/>
              <a:gd name="connsiteX37" fmla="*/ 9294126 w 9621672"/>
              <a:gd name="connsiteY37" fmla="*/ 95534 h 1487606"/>
              <a:gd name="connsiteX38" fmla="*/ 9621672 w 9621672"/>
              <a:gd name="connsiteY38" fmla="*/ 723331 h 1487606"/>
              <a:gd name="connsiteX0" fmla="*/ 0 w 9621672"/>
              <a:gd name="connsiteY0" fmla="*/ 808945 h 1600515"/>
              <a:gd name="connsiteX1" fmla="*/ 530207 w 9621672"/>
              <a:gd name="connsiteY1" fmla="*/ 500563 h 1600515"/>
              <a:gd name="connsiteX2" fmla="*/ 1050878 w 9621672"/>
              <a:gd name="connsiteY2" fmla="*/ 768001 h 1600515"/>
              <a:gd name="connsiteX3" fmla="*/ 1050879 w 9621672"/>
              <a:gd name="connsiteY3" fmla="*/ 1528002 h 1600515"/>
              <a:gd name="connsiteX4" fmla="*/ 1241947 w 9621672"/>
              <a:gd name="connsiteY4" fmla="*/ 1534343 h 1600515"/>
              <a:gd name="connsiteX5" fmla="*/ 1255594 w 9621672"/>
              <a:gd name="connsiteY5" fmla="*/ 467751 h 1600515"/>
              <a:gd name="connsiteX6" fmla="*/ 1528549 w 9621672"/>
              <a:gd name="connsiteY6" fmla="*/ 317625 h 1600515"/>
              <a:gd name="connsiteX7" fmla="*/ 1583141 w 9621672"/>
              <a:gd name="connsiteY7" fmla="*/ 481398 h 1600515"/>
              <a:gd name="connsiteX8" fmla="*/ 1869744 w 9621672"/>
              <a:gd name="connsiteY8" fmla="*/ 317625 h 1600515"/>
              <a:gd name="connsiteX9" fmla="*/ 1965278 w 9621672"/>
              <a:gd name="connsiteY9" fmla="*/ 454103 h 1600515"/>
              <a:gd name="connsiteX10" fmla="*/ 2210938 w 9621672"/>
              <a:gd name="connsiteY10" fmla="*/ 331273 h 1600515"/>
              <a:gd name="connsiteX11" fmla="*/ 2279176 w 9621672"/>
              <a:gd name="connsiteY11" fmla="*/ 481398 h 1600515"/>
              <a:gd name="connsiteX12" fmla="*/ 2284603 w 9621672"/>
              <a:gd name="connsiteY12" fmla="*/ 1560536 h 1600515"/>
              <a:gd name="connsiteX13" fmla="*/ 2784144 w 9621672"/>
              <a:gd name="connsiteY13" fmla="*/ 1600515 h 1600515"/>
              <a:gd name="connsiteX14" fmla="*/ 2797791 w 9621672"/>
              <a:gd name="connsiteY14" fmla="*/ 795297 h 1600515"/>
              <a:gd name="connsiteX15" fmla="*/ 2620370 w 9621672"/>
              <a:gd name="connsiteY15" fmla="*/ 808945 h 1600515"/>
              <a:gd name="connsiteX16" fmla="*/ 3193576 w 9621672"/>
              <a:gd name="connsiteY16" fmla="*/ 276682 h 1600515"/>
              <a:gd name="connsiteX17" fmla="*/ 3684896 w 9621672"/>
              <a:gd name="connsiteY17" fmla="*/ 740706 h 1600515"/>
              <a:gd name="connsiteX18" fmla="*/ 3493827 w 9621672"/>
              <a:gd name="connsiteY18" fmla="*/ 768001 h 1600515"/>
              <a:gd name="connsiteX19" fmla="*/ 3548418 w 9621672"/>
              <a:gd name="connsiteY19" fmla="*/ 1573219 h 1600515"/>
              <a:gd name="connsiteX20" fmla="*/ 4560408 w 9621672"/>
              <a:gd name="connsiteY20" fmla="*/ 1578457 h 1600515"/>
              <a:gd name="connsiteX21" fmla="*/ 4558352 w 9621672"/>
              <a:gd name="connsiteY21" fmla="*/ 549637 h 1600515"/>
              <a:gd name="connsiteX22" fmla="*/ 5049672 w 9621672"/>
              <a:gd name="connsiteY22" fmla="*/ 167500 h 1600515"/>
              <a:gd name="connsiteX23" fmla="*/ 5513696 w 9621672"/>
              <a:gd name="connsiteY23" fmla="*/ 576933 h 1600515"/>
              <a:gd name="connsiteX24" fmla="*/ 5991367 w 9621672"/>
              <a:gd name="connsiteY24" fmla="*/ 304663 h 1600515"/>
              <a:gd name="connsiteX25" fmla="*/ 6065772 w 9621672"/>
              <a:gd name="connsiteY25" fmla="*/ 956186 h 1600515"/>
              <a:gd name="connsiteX26" fmla="*/ 6237027 w 9621672"/>
              <a:gd name="connsiteY26" fmla="*/ 576933 h 1600515"/>
              <a:gd name="connsiteX27" fmla="*/ 6604201 w 9621672"/>
              <a:gd name="connsiteY27" fmla="*/ 585343 h 1600515"/>
              <a:gd name="connsiteX28" fmla="*/ 6823881 w 9621672"/>
              <a:gd name="connsiteY28" fmla="*/ 249386 h 1600515"/>
              <a:gd name="connsiteX29" fmla="*/ 7077022 w 9621672"/>
              <a:gd name="connsiteY29" fmla="*/ 601743 h 1600515"/>
              <a:gd name="connsiteX30" fmla="*/ 7069705 w 9621672"/>
              <a:gd name="connsiteY30" fmla="*/ 1145873 h 1600515"/>
              <a:gd name="connsiteX31" fmla="*/ 7781280 w 9621672"/>
              <a:gd name="connsiteY31" fmla="*/ 1154691 h 1600515"/>
              <a:gd name="connsiteX32" fmla="*/ 7774539 w 9621672"/>
              <a:gd name="connsiteY32" fmla="*/ 476160 h 1600515"/>
              <a:gd name="connsiteX33" fmla="*/ 8083750 w 9621672"/>
              <a:gd name="connsiteY33" fmla="*/ 0 h 1600515"/>
              <a:gd name="connsiteX34" fmla="*/ 8475260 w 9621672"/>
              <a:gd name="connsiteY34" fmla="*/ 112909 h 1600515"/>
              <a:gd name="connsiteX35" fmla="*/ 8748215 w 9621672"/>
              <a:gd name="connsiteY35" fmla="*/ 781649 h 1600515"/>
              <a:gd name="connsiteX36" fmla="*/ 9144000 w 9621672"/>
              <a:gd name="connsiteY36" fmla="*/ 740706 h 1600515"/>
              <a:gd name="connsiteX37" fmla="*/ 9294126 w 9621672"/>
              <a:gd name="connsiteY37" fmla="*/ 208443 h 1600515"/>
              <a:gd name="connsiteX38" fmla="*/ 9621672 w 9621672"/>
              <a:gd name="connsiteY38" fmla="*/ 836240 h 1600515"/>
              <a:gd name="connsiteX0" fmla="*/ 0 w 9621672"/>
              <a:gd name="connsiteY0" fmla="*/ 808945 h 1600515"/>
              <a:gd name="connsiteX1" fmla="*/ 530207 w 9621672"/>
              <a:gd name="connsiteY1" fmla="*/ 500563 h 1600515"/>
              <a:gd name="connsiteX2" fmla="*/ 1050878 w 9621672"/>
              <a:gd name="connsiteY2" fmla="*/ 768001 h 1600515"/>
              <a:gd name="connsiteX3" fmla="*/ 1050879 w 9621672"/>
              <a:gd name="connsiteY3" fmla="*/ 1528002 h 1600515"/>
              <a:gd name="connsiteX4" fmla="*/ 1241947 w 9621672"/>
              <a:gd name="connsiteY4" fmla="*/ 1534343 h 1600515"/>
              <a:gd name="connsiteX5" fmla="*/ 1255594 w 9621672"/>
              <a:gd name="connsiteY5" fmla="*/ 467751 h 1600515"/>
              <a:gd name="connsiteX6" fmla="*/ 1528549 w 9621672"/>
              <a:gd name="connsiteY6" fmla="*/ 317625 h 1600515"/>
              <a:gd name="connsiteX7" fmla="*/ 1583141 w 9621672"/>
              <a:gd name="connsiteY7" fmla="*/ 481398 h 1600515"/>
              <a:gd name="connsiteX8" fmla="*/ 1869744 w 9621672"/>
              <a:gd name="connsiteY8" fmla="*/ 317625 h 1600515"/>
              <a:gd name="connsiteX9" fmla="*/ 1965278 w 9621672"/>
              <a:gd name="connsiteY9" fmla="*/ 454103 h 1600515"/>
              <a:gd name="connsiteX10" fmla="*/ 2210938 w 9621672"/>
              <a:gd name="connsiteY10" fmla="*/ 331273 h 1600515"/>
              <a:gd name="connsiteX11" fmla="*/ 2279176 w 9621672"/>
              <a:gd name="connsiteY11" fmla="*/ 481398 h 1600515"/>
              <a:gd name="connsiteX12" fmla="*/ 2284603 w 9621672"/>
              <a:gd name="connsiteY12" fmla="*/ 1560536 h 1600515"/>
              <a:gd name="connsiteX13" fmla="*/ 2784144 w 9621672"/>
              <a:gd name="connsiteY13" fmla="*/ 1600515 h 1600515"/>
              <a:gd name="connsiteX14" fmla="*/ 2797791 w 9621672"/>
              <a:gd name="connsiteY14" fmla="*/ 795297 h 1600515"/>
              <a:gd name="connsiteX15" fmla="*/ 2620370 w 9621672"/>
              <a:gd name="connsiteY15" fmla="*/ 808945 h 1600515"/>
              <a:gd name="connsiteX16" fmla="*/ 3193576 w 9621672"/>
              <a:gd name="connsiteY16" fmla="*/ 276682 h 1600515"/>
              <a:gd name="connsiteX17" fmla="*/ 3684896 w 9621672"/>
              <a:gd name="connsiteY17" fmla="*/ 740706 h 1600515"/>
              <a:gd name="connsiteX18" fmla="*/ 3493827 w 9621672"/>
              <a:gd name="connsiteY18" fmla="*/ 768001 h 1600515"/>
              <a:gd name="connsiteX19" fmla="*/ 3548418 w 9621672"/>
              <a:gd name="connsiteY19" fmla="*/ 1573219 h 1600515"/>
              <a:gd name="connsiteX20" fmla="*/ 4560408 w 9621672"/>
              <a:gd name="connsiteY20" fmla="*/ 1578457 h 1600515"/>
              <a:gd name="connsiteX21" fmla="*/ 4558352 w 9621672"/>
              <a:gd name="connsiteY21" fmla="*/ 549637 h 1600515"/>
              <a:gd name="connsiteX22" fmla="*/ 5049672 w 9621672"/>
              <a:gd name="connsiteY22" fmla="*/ 167500 h 1600515"/>
              <a:gd name="connsiteX23" fmla="*/ 5513696 w 9621672"/>
              <a:gd name="connsiteY23" fmla="*/ 576933 h 1600515"/>
              <a:gd name="connsiteX24" fmla="*/ 5991367 w 9621672"/>
              <a:gd name="connsiteY24" fmla="*/ 304663 h 1600515"/>
              <a:gd name="connsiteX25" fmla="*/ 6065772 w 9621672"/>
              <a:gd name="connsiteY25" fmla="*/ 956186 h 1600515"/>
              <a:gd name="connsiteX26" fmla="*/ 6237027 w 9621672"/>
              <a:gd name="connsiteY26" fmla="*/ 576933 h 1600515"/>
              <a:gd name="connsiteX27" fmla="*/ 6604201 w 9621672"/>
              <a:gd name="connsiteY27" fmla="*/ 585343 h 1600515"/>
              <a:gd name="connsiteX28" fmla="*/ 6823881 w 9621672"/>
              <a:gd name="connsiteY28" fmla="*/ 249386 h 1600515"/>
              <a:gd name="connsiteX29" fmla="*/ 7077022 w 9621672"/>
              <a:gd name="connsiteY29" fmla="*/ 601743 h 1600515"/>
              <a:gd name="connsiteX30" fmla="*/ 7069705 w 9621672"/>
              <a:gd name="connsiteY30" fmla="*/ 1145873 h 1600515"/>
              <a:gd name="connsiteX31" fmla="*/ 7781280 w 9621672"/>
              <a:gd name="connsiteY31" fmla="*/ 1154691 h 1600515"/>
              <a:gd name="connsiteX32" fmla="*/ 7774539 w 9621672"/>
              <a:gd name="connsiteY32" fmla="*/ 476160 h 1600515"/>
              <a:gd name="connsiteX33" fmla="*/ 8083750 w 9621672"/>
              <a:gd name="connsiteY33" fmla="*/ 0 h 1600515"/>
              <a:gd name="connsiteX34" fmla="*/ 8417298 w 9621672"/>
              <a:gd name="connsiteY34" fmla="*/ 482919 h 1600515"/>
              <a:gd name="connsiteX35" fmla="*/ 8748215 w 9621672"/>
              <a:gd name="connsiteY35" fmla="*/ 781649 h 1600515"/>
              <a:gd name="connsiteX36" fmla="*/ 9144000 w 9621672"/>
              <a:gd name="connsiteY36" fmla="*/ 740706 h 1600515"/>
              <a:gd name="connsiteX37" fmla="*/ 9294126 w 9621672"/>
              <a:gd name="connsiteY37" fmla="*/ 208443 h 1600515"/>
              <a:gd name="connsiteX38" fmla="*/ 9621672 w 9621672"/>
              <a:gd name="connsiteY38" fmla="*/ 836240 h 1600515"/>
              <a:gd name="connsiteX0" fmla="*/ 0 w 9621672"/>
              <a:gd name="connsiteY0" fmla="*/ 808945 h 1600515"/>
              <a:gd name="connsiteX1" fmla="*/ 530207 w 9621672"/>
              <a:gd name="connsiteY1" fmla="*/ 500563 h 1600515"/>
              <a:gd name="connsiteX2" fmla="*/ 1050878 w 9621672"/>
              <a:gd name="connsiteY2" fmla="*/ 768001 h 1600515"/>
              <a:gd name="connsiteX3" fmla="*/ 1050879 w 9621672"/>
              <a:gd name="connsiteY3" fmla="*/ 1528002 h 1600515"/>
              <a:gd name="connsiteX4" fmla="*/ 1241947 w 9621672"/>
              <a:gd name="connsiteY4" fmla="*/ 1534343 h 1600515"/>
              <a:gd name="connsiteX5" fmla="*/ 1255594 w 9621672"/>
              <a:gd name="connsiteY5" fmla="*/ 467751 h 1600515"/>
              <a:gd name="connsiteX6" fmla="*/ 1528549 w 9621672"/>
              <a:gd name="connsiteY6" fmla="*/ 317625 h 1600515"/>
              <a:gd name="connsiteX7" fmla="*/ 1583141 w 9621672"/>
              <a:gd name="connsiteY7" fmla="*/ 481398 h 1600515"/>
              <a:gd name="connsiteX8" fmla="*/ 1869744 w 9621672"/>
              <a:gd name="connsiteY8" fmla="*/ 317625 h 1600515"/>
              <a:gd name="connsiteX9" fmla="*/ 1965278 w 9621672"/>
              <a:gd name="connsiteY9" fmla="*/ 454103 h 1600515"/>
              <a:gd name="connsiteX10" fmla="*/ 2210938 w 9621672"/>
              <a:gd name="connsiteY10" fmla="*/ 331273 h 1600515"/>
              <a:gd name="connsiteX11" fmla="*/ 2279176 w 9621672"/>
              <a:gd name="connsiteY11" fmla="*/ 481398 h 1600515"/>
              <a:gd name="connsiteX12" fmla="*/ 2284603 w 9621672"/>
              <a:gd name="connsiteY12" fmla="*/ 1560536 h 1600515"/>
              <a:gd name="connsiteX13" fmla="*/ 2784144 w 9621672"/>
              <a:gd name="connsiteY13" fmla="*/ 1600515 h 1600515"/>
              <a:gd name="connsiteX14" fmla="*/ 2797791 w 9621672"/>
              <a:gd name="connsiteY14" fmla="*/ 795297 h 1600515"/>
              <a:gd name="connsiteX15" fmla="*/ 2620370 w 9621672"/>
              <a:gd name="connsiteY15" fmla="*/ 808945 h 1600515"/>
              <a:gd name="connsiteX16" fmla="*/ 3193576 w 9621672"/>
              <a:gd name="connsiteY16" fmla="*/ 276682 h 1600515"/>
              <a:gd name="connsiteX17" fmla="*/ 3684896 w 9621672"/>
              <a:gd name="connsiteY17" fmla="*/ 740706 h 1600515"/>
              <a:gd name="connsiteX18" fmla="*/ 3493827 w 9621672"/>
              <a:gd name="connsiteY18" fmla="*/ 768001 h 1600515"/>
              <a:gd name="connsiteX19" fmla="*/ 3548418 w 9621672"/>
              <a:gd name="connsiteY19" fmla="*/ 1573219 h 1600515"/>
              <a:gd name="connsiteX20" fmla="*/ 4560408 w 9621672"/>
              <a:gd name="connsiteY20" fmla="*/ 1578457 h 1600515"/>
              <a:gd name="connsiteX21" fmla="*/ 4558352 w 9621672"/>
              <a:gd name="connsiteY21" fmla="*/ 549637 h 1600515"/>
              <a:gd name="connsiteX22" fmla="*/ 5049672 w 9621672"/>
              <a:gd name="connsiteY22" fmla="*/ 167500 h 1600515"/>
              <a:gd name="connsiteX23" fmla="*/ 5513696 w 9621672"/>
              <a:gd name="connsiteY23" fmla="*/ 576933 h 1600515"/>
              <a:gd name="connsiteX24" fmla="*/ 5991367 w 9621672"/>
              <a:gd name="connsiteY24" fmla="*/ 304663 h 1600515"/>
              <a:gd name="connsiteX25" fmla="*/ 6065772 w 9621672"/>
              <a:gd name="connsiteY25" fmla="*/ 956186 h 1600515"/>
              <a:gd name="connsiteX26" fmla="*/ 6237027 w 9621672"/>
              <a:gd name="connsiteY26" fmla="*/ 576933 h 1600515"/>
              <a:gd name="connsiteX27" fmla="*/ 6604201 w 9621672"/>
              <a:gd name="connsiteY27" fmla="*/ 585343 h 1600515"/>
              <a:gd name="connsiteX28" fmla="*/ 6823881 w 9621672"/>
              <a:gd name="connsiteY28" fmla="*/ 249386 h 1600515"/>
              <a:gd name="connsiteX29" fmla="*/ 7077022 w 9621672"/>
              <a:gd name="connsiteY29" fmla="*/ 601743 h 1600515"/>
              <a:gd name="connsiteX30" fmla="*/ 7069705 w 9621672"/>
              <a:gd name="connsiteY30" fmla="*/ 1145873 h 1600515"/>
              <a:gd name="connsiteX31" fmla="*/ 7781280 w 9621672"/>
              <a:gd name="connsiteY31" fmla="*/ 1154691 h 1600515"/>
              <a:gd name="connsiteX32" fmla="*/ 7774539 w 9621672"/>
              <a:gd name="connsiteY32" fmla="*/ 476160 h 1600515"/>
              <a:gd name="connsiteX33" fmla="*/ 8083750 w 9621672"/>
              <a:gd name="connsiteY33" fmla="*/ 0 h 1600515"/>
              <a:gd name="connsiteX34" fmla="*/ 8417298 w 9621672"/>
              <a:gd name="connsiteY34" fmla="*/ 482919 h 1600515"/>
              <a:gd name="connsiteX35" fmla="*/ 8400444 w 9621672"/>
              <a:gd name="connsiteY35" fmla="*/ 1151659 h 1600515"/>
              <a:gd name="connsiteX36" fmla="*/ 9144000 w 9621672"/>
              <a:gd name="connsiteY36" fmla="*/ 740706 h 1600515"/>
              <a:gd name="connsiteX37" fmla="*/ 9294126 w 9621672"/>
              <a:gd name="connsiteY37" fmla="*/ 208443 h 1600515"/>
              <a:gd name="connsiteX38" fmla="*/ 9621672 w 9621672"/>
              <a:gd name="connsiteY38" fmla="*/ 836240 h 1600515"/>
              <a:gd name="connsiteX0" fmla="*/ 0 w 9621672"/>
              <a:gd name="connsiteY0" fmla="*/ 808945 h 1600515"/>
              <a:gd name="connsiteX1" fmla="*/ 530207 w 9621672"/>
              <a:gd name="connsiteY1" fmla="*/ 500563 h 1600515"/>
              <a:gd name="connsiteX2" fmla="*/ 1050878 w 9621672"/>
              <a:gd name="connsiteY2" fmla="*/ 768001 h 1600515"/>
              <a:gd name="connsiteX3" fmla="*/ 1050879 w 9621672"/>
              <a:gd name="connsiteY3" fmla="*/ 1528002 h 1600515"/>
              <a:gd name="connsiteX4" fmla="*/ 1241947 w 9621672"/>
              <a:gd name="connsiteY4" fmla="*/ 1534343 h 1600515"/>
              <a:gd name="connsiteX5" fmla="*/ 1255594 w 9621672"/>
              <a:gd name="connsiteY5" fmla="*/ 467751 h 1600515"/>
              <a:gd name="connsiteX6" fmla="*/ 1528549 w 9621672"/>
              <a:gd name="connsiteY6" fmla="*/ 317625 h 1600515"/>
              <a:gd name="connsiteX7" fmla="*/ 1583141 w 9621672"/>
              <a:gd name="connsiteY7" fmla="*/ 481398 h 1600515"/>
              <a:gd name="connsiteX8" fmla="*/ 1869744 w 9621672"/>
              <a:gd name="connsiteY8" fmla="*/ 317625 h 1600515"/>
              <a:gd name="connsiteX9" fmla="*/ 1965278 w 9621672"/>
              <a:gd name="connsiteY9" fmla="*/ 454103 h 1600515"/>
              <a:gd name="connsiteX10" fmla="*/ 2210938 w 9621672"/>
              <a:gd name="connsiteY10" fmla="*/ 331273 h 1600515"/>
              <a:gd name="connsiteX11" fmla="*/ 2279176 w 9621672"/>
              <a:gd name="connsiteY11" fmla="*/ 481398 h 1600515"/>
              <a:gd name="connsiteX12" fmla="*/ 2284603 w 9621672"/>
              <a:gd name="connsiteY12" fmla="*/ 1560536 h 1600515"/>
              <a:gd name="connsiteX13" fmla="*/ 2784144 w 9621672"/>
              <a:gd name="connsiteY13" fmla="*/ 1600515 h 1600515"/>
              <a:gd name="connsiteX14" fmla="*/ 2797791 w 9621672"/>
              <a:gd name="connsiteY14" fmla="*/ 795297 h 1600515"/>
              <a:gd name="connsiteX15" fmla="*/ 2620370 w 9621672"/>
              <a:gd name="connsiteY15" fmla="*/ 808945 h 1600515"/>
              <a:gd name="connsiteX16" fmla="*/ 3193576 w 9621672"/>
              <a:gd name="connsiteY16" fmla="*/ 276682 h 1600515"/>
              <a:gd name="connsiteX17" fmla="*/ 3684896 w 9621672"/>
              <a:gd name="connsiteY17" fmla="*/ 740706 h 1600515"/>
              <a:gd name="connsiteX18" fmla="*/ 3493827 w 9621672"/>
              <a:gd name="connsiteY18" fmla="*/ 768001 h 1600515"/>
              <a:gd name="connsiteX19" fmla="*/ 3548418 w 9621672"/>
              <a:gd name="connsiteY19" fmla="*/ 1573219 h 1600515"/>
              <a:gd name="connsiteX20" fmla="*/ 4560408 w 9621672"/>
              <a:gd name="connsiteY20" fmla="*/ 1578457 h 1600515"/>
              <a:gd name="connsiteX21" fmla="*/ 4558352 w 9621672"/>
              <a:gd name="connsiteY21" fmla="*/ 549637 h 1600515"/>
              <a:gd name="connsiteX22" fmla="*/ 5049672 w 9621672"/>
              <a:gd name="connsiteY22" fmla="*/ 167500 h 1600515"/>
              <a:gd name="connsiteX23" fmla="*/ 5513696 w 9621672"/>
              <a:gd name="connsiteY23" fmla="*/ 576933 h 1600515"/>
              <a:gd name="connsiteX24" fmla="*/ 5991367 w 9621672"/>
              <a:gd name="connsiteY24" fmla="*/ 304663 h 1600515"/>
              <a:gd name="connsiteX25" fmla="*/ 6065772 w 9621672"/>
              <a:gd name="connsiteY25" fmla="*/ 956186 h 1600515"/>
              <a:gd name="connsiteX26" fmla="*/ 6237027 w 9621672"/>
              <a:gd name="connsiteY26" fmla="*/ 576933 h 1600515"/>
              <a:gd name="connsiteX27" fmla="*/ 6604201 w 9621672"/>
              <a:gd name="connsiteY27" fmla="*/ 585343 h 1600515"/>
              <a:gd name="connsiteX28" fmla="*/ 6823881 w 9621672"/>
              <a:gd name="connsiteY28" fmla="*/ 249386 h 1600515"/>
              <a:gd name="connsiteX29" fmla="*/ 7077022 w 9621672"/>
              <a:gd name="connsiteY29" fmla="*/ 601743 h 1600515"/>
              <a:gd name="connsiteX30" fmla="*/ 7069705 w 9621672"/>
              <a:gd name="connsiteY30" fmla="*/ 1145873 h 1600515"/>
              <a:gd name="connsiteX31" fmla="*/ 7781280 w 9621672"/>
              <a:gd name="connsiteY31" fmla="*/ 1154691 h 1600515"/>
              <a:gd name="connsiteX32" fmla="*/ 7774539 w 9621672"/>
              <a:gd name="connsiteY32" fmla="*/ 476160 h 1600515"/>
              <a:gd name="connsiteX33" fmla="*/ 8083750 w 9621672"/>
              <a:gd name="connsiteY33" fmla="*/ 0 h 1600515"/>
              <a:gd name="connsiteX34" fmla="*/ 8417298 w 9621672"/>
              <a:gd name="connsiteY34" fmla="*/ 482919 h 1600515"/>
              <a:gd name="connsiteX35" fmla="*/ 8400444 w 9621672"/>
              <a:gd name="connsiteY35" fmla="*/ 1151659 h 1600515"/>
              <a:gd name="connsiteX36" fmla="*/ 8668713 w 9621672"/>
              <a:gd name="connsiteY36" fmla="*/ 1127534 h 1600515"/>
              <a:gd name="connsiteX37" fmla="*/ 9294126 w 9621672"/>
              <a:gd name="connsiteY37" fmla="*/ 208443 h 1600515"/>
              <a:gd name="connsiteX38" fmla="*/ 9621672 w 9621672"/>
              <a:gd name="connsiteY38" fmla="*/ 836240 h 1600515"/>
              <a:gd name="connsiteX0" fmla="*/ 0 w 9621672"/>
              <a:gd name="connsiteY0" fmla="*/ 808945 h 1600515"/>
              <a:gd name="connsiteX1" fmla="*/ 530207 w 9621672"/>
              <a:gd name="connsiteY1" fmla="*/ 500563 h 1600515"/>
              <a:gd name="connsiteX2" fmla="*/ 1050878 w 9621672"/>
              <a:gd name="connsiteY2" fmla="*/ 768001 h 1600515"/>
              <a:gd name="connsiteX3" fmla="*/ 1050879 w 9621672"/>
              <a:gd name="connsiteY3" fmla="*/ 1528002 h 1600515"/>
              <a:gd name="connsiteX4" fmla="*/ 1241947 w 9621672"/>
              <a:gd name="connsiteY4" fmla="*/ 1534343 h 1600515"/>
              <a:gd name="connsiteX5" fmla="*/ 1255594 w 9621672"/>
              <a:gd name="connsiteY5" fmla="*/ 467751 h 1600515"/>
              <a:gd name="connsiteX6" fmla="*/ 1528549 w 9621672"/>
              <a:gd name="connsiteY6" fmla="*/ 317625 h 1600515"/>
              <a:gd name="connsiteX7" fmla="*/ 1583141 w 9621672"/>
              <a:gd name="connsiteY7" fmla="*/ 481398 h 1600515"/>
              <a:gd name="connsiteX8" fmla="*/ 1869744 w 9621672"/>
              <a:gd name="connsiteY8" fmla="*/ 317625 h 1600515"/>
              <a:gd name="connsiteX9" fmla="*/ 1965278 w 9621672"/>
              <a:gd name="connsiteY9" fmla="*/ 454103 h 1600515"/>
              <a:gd name="connsiteX10" fmla="*/ 2210938 w 9621672"/>
              <a:gd name="connsiteY10" fmla="*/ 331273 h 1600515"/>
              <a:gd name="connsiteX11" fmla="*/ 2279176 w 9621672"/>
              <a:gd name="connsiteY11" fmla="*/ 481398 h 1600515"/>
              <a:gd name="connsiteX12" fmla="*/ 2284603 w 9621672"/>
              <a:gd name="connsiteY12" fmla="*/ 1560536 h 1600515"/>
              <a:gd name="connsiteX13" fmla="*/ 2784144 w 9621672"/>
              <a:gd name="connsiteY13" fmla="*/ 1600515 h 1600515"/>
              <a:gd name="connsiteX14" fmla="*/ 2797791 w 9621672"/>
              <a:gd name="connsiteY14" fmla="*/ 795297 h 1600515"/>
              <a:gd name="connsiteX15" fmla="*/ 2620370 w 9621672"/>
              <a:gd name="connsiteY15" fmla="*/ 808945 h 1600515"/>
              <a:gd name="connsiteX16" fmla="*/ 3193576 w 9621672"/>
              <a:gd name="connsiteY16" fmla="*/ 276682 h 1600515"/>
              <a:gd name="connsiteX17" fmla="*/ 3684896 w 9621672"/>
              <a:gd name="connsiteY17" fmla="*/ 740706 h 1600515"/>
              <a:gd name="connsiteX18" fmla="*/ 3493827 w 9621672"/>
              <a:gd name="connsiteY18" fmla="*/ 768001 h 1600515"/>
              <a:gd name="connsiteX19" fmla="*/ 3548418 w 9621672"/>
              <a:gd name="connsiteY19" fmla="*/ 1573219 h 1600515"/>
              <a:gd name="connsiteX20" fmla="*/ 4560408 w 9621672"/>
              <a:gd name="connsiteY20" fmla="*/ 1578457 h 1600515"/>
              <a:gd name="connsiteX21" fmla="*/ 4558352 w 9621672"/>
              <a:gd name="connsiteY21" fmla="*/ 549637 h 1600515"/>
              <a:gd name="connsiteX22" fmla="*/ 5049672 w 9621672"/>
              <a:gd name="connsiteY22" fmla="*/ 167500 h 1600515"/>
              <a:gd name="connsiteX23" fmla="*/ 5513696 w 9621672"/>
              <a:gd name="connsiteY23" fmla="*/ 576933 h 1600515"/>
              <a:gd name="connsiteX24" fmla="*/ 5991367 w 9621672"/>
              <a:gd name="connsiteY24" fmla="*/ 304663 h 1600515"/>
              <a:gd name="connsiteX25" fmla="*/ 6065772 w 9621672"/>
              <a:gd name="connsiteY25" fmla="*/ 956186 h 1600515"/>
              <a:gd name="connsiteX26" fmla="*/ 6237027 w 9621672"/>
              <a:gd name="connsiteY26" fmla="*/ 576933 h 1600515"/>
              <a:gd name="connsiteX27" fmla="*/ 6604201 w 9621672"/>
              <a:gd name="connsiteY27" fmla="*/ 585343 h 1600515"/>
              <a:gd name="connsiteX28" fmla="*/ 6823881 w 9621672"/>
              <a:gd name="connsiteY28" fmla="*/ 249386 h 1600515"/>
              <a:gd name="connsiteX29" fmla="*/ 7077022 w 9621672"/>
              <a:gd name="connsiteY29" fmla="*/ 601743 h 1600515"/>
              <a:gd name="connsiteX30" fmla="*/ 7069705 w 9621672"/>
              <a:gd name="connsiteY30" fmla="*/ 1145873 h 1600515"/>
              <a:gd name="connsiteX31" fmla="*/ 7781280 w 9621672"/>
              <a:gd name="connsiteY31" fmla="*/ 1154691 h 1600515"/>
              <a:gd name="connsiteX32" fmla="*/ 7774539 w 9621672"/>
              <a:gd name="connsiteY32" fmla="*/ 476160 h 1600515"/>
              <a:gd name="connsiteX33" fmla="*/ 8083750 w 9621672"/>
              <a:gd name="connsiteY33" fmla="*/ 0 h 1600515"/>
              <a:gd name="connsiteX34" fmla="*/ 8417298 w 9621672"/>
              <a:gd name="connsiteY34" fmla="*/ 482919 h 1600515"/>
              <a:gd name="connsiteX35" fmla="*/ 8400444 w 9621672"/>
              <a:gd name="connsiteY35" fmla="*/ 1151659 h 1600515"/>
              <a:gd name="connsiteX36" fmla="*/ 8668713 w 9621672"/>
              <a:gd name="connsiteY36" fmla="*/ 1127534 h 1600515"/>
              <a:gd name="connsiteX37" fmla="*/ 8714508 w 9621672"/>
              <a:gd name="connsiteY37" fmla="*/ 477541 h 1600515"/>
              <a:gd name="connsiteX38" fmla="*/ 9621672 w 9621672"/>
              <a:gd name="connsiteY38" fmla="*/ 836240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991367 w 9076830"/>
              <a:gd name="connsiteY24" fmla="*/ 304663 h 1600515"/>
              <a:gd name="connsiteX25" fmla="*/ 6065772 w 9076830"/>
              <a:gd name="connsiteY25" fmla="*/ 956186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45873 h 1600515"/>
              <a:gd name="connsiteX31" fmla="*/ 7781280 w 9076830"/>
              <a:gd name="connsiteY31" fmla="*/ 115469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00444 w 9076830"/>
              <a:gd name="connsiteY35" fmla="*/ 1151659 h 1600515"/>
              <a:gd name="connsiteX36" fmla="*/ 8668713 w 9076830"/>
              <a:gd name="connsiteY36" fmla="*/ 1127534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991367 w 9076830"/>
              <a:gd name="connsiteY24" fmla="*/ 304663 h 1600515"/>
              <a:gd name="connsiteX25" fmla="*/ 6065772 w 9076830"/>
              <a:gd name="connsiteY25" fmla="*/ 956186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45873 h 1600515"/>
              <a:gd name="connsiteX31" fmla="*/ 7781280 w 9076830"/>
              <a:gd name="connsiteY31" fmla="*/ 115469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00444 w 9076830"/>
              <a:gd name="connsiteY35" fmla="*/ 1151659 h 1600515"/>
              <a:gd name="connsiteX36" fmla="*/ 8703490 w 9076830"/>
              <a:gd name="connsiteY36" fmla="*/ 1144353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991367 w 9076830"/>
              <a:gd name="connsiteY24" fmla="*/ 304663 h 1600515"/>
              <a:gd name="connsiteX25" fmla="*/ 6065772 w 9076830"/>
              <a:gd name="connsiteY25" fmla="*/ 956186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45873 h 1600515"/>
              <a:gd name="connsiteX31" fmla="*/ 7781280 w 9076830"/>
              <a:gd name="connsiteY31" fmla="*/ 115469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00444 w 9076830"/>
              <a:gd name="connsiteY35" fmla="*/ 1151659 h 1600515"/>
              <a:gd name="connsiteX36" fmla="*/ 8703490 w 9076830"/>
              <a:gd name="connsiteY36" fmla="*/ 1152762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991367 w 9076830"/>
              <a:gd name="connsiteY24" fmla="*/ 304663 h 1600515"/>
              <a:gd name="connsiteX25" fmla="*/ 6065772 w 9076830"/>
              <a:gd name="connsiteY25" fmla="*/ 956186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45873 h 1600515"/>
              <a:gd name="connsiteX31" fmla="*/ 7769688 w 9076830"/>
              <a:gd name="connsiteY31" fmla="*/ 116310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00444 w 9076830"/>
              <a:gd name="connsiteY35" fmla="*/ 1151659 h 1600515"/>
              <a:gd name="connsiteX36" fmla="*/ 8703490 w 9076830"/>
              <a:gd name="connsiteY36" fmla="*/ 1152762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991367 w 9076830"/>
              <a:gd name="connsiteY24" fmla="*/ 304663 h 1600515"/>
              <a:gd name="connsiteX25" fmla="*/ 6065772 w 9076830"/>
              <a:gd name="connsiteY25" fmla="*/ 956186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71101 h 1600515"/>
              <a:gd name="connsiteX31" fmla="*/ 7769688 w 9076830"/>
              <a:gd name="connsiteY31" fmla="*/ 116310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00444 w 9076830"/>
              <a:gd name="connsiteY35" fmla="*/ 1151659 h 1600515"/>
              <a:gd name="connsiteX36" fmla="*/ 8703490 w 9076830"/>
              <a:gd name="connsiteY36" fmla="*/ 1152762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991367 w 9076830"/>
              <a:gd name="connsiteY24" fmla="*/ 304663 h 1600515"/>
              <a:gd name="connsiteX25" fmla="*/ 6065772 w 9076830"/>
              <a:gd name="connsiteY25" fmla="*/ 956186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71101 h 1600515"/>
              <a:gd name="connsiteX31" fmla="*/ 7769688 w 9076830"/>
              <a:gd name="connsiteY31" fmla="*/ 116310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12037 w 9076830"/>
              <a:gd name="connsiteY35" fmla="*/ 1151659 h 1600515"/>
              <a:gd name="connsiteX36" fmla="*/ 8703490 w 9076830"/>
              <a:gd name="connsiteY36" fmla="*/ 1152762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991367 w 9076830"/>
              <a:gd name="connsiteY24" fmla="*/ 304663 h 1600515"/>
              <a:gd name="connsiteX25" fmla="*/ 6065772 w 9076830"/>
              <a:gd name="connsiteY25" fmla="*/ 956186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71101 h 1600515"/>
              <a:gd name="connsiteX31" fmla="*/ 7769688 w 9076830"/>
              <a:gd name="connsiteY31" fmla="*/ 116310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12037 w 9076830"/>
              <a:gd name="connsiteY35" fmla="*/ 1151659 h 1600515"/>
              <a:gd name="connsiteX36" fmla="*/ 8715083 w 9076830"/>
              <a:gd name="connsiteY36" fmla="*/ 1152762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991367 w 9076830"/>
              <a:gd name="connsiteY24" fmla="*/ 304663 h 1600515"/>
              <a:gd name="connsiteX25" fmla="*/ 6065772 w 9076830"/>
              <a:gd name="connsiteY25" fmla="*/ 956186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62692 h 1600515"/>
              <a:gd name="connsiteX31" fmla="*/ 7769688 w 9076830"/>
              <a:gd name="connsiteY31" fmla="*/ 116310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12037 w 9076830"/>
              <a:gd name="connsiteY35" fmla="*/ 1151659 h 1600515"/>
              <a:gd name="connsiteX36" fmla="*/ 8715083 w 9076830"/>
              <a:gd name="connsiteY36" fmla="*/ 1152762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747927 w 9076830"/>
              <a:gd name="connsiteY24" fmla="*/ 321482 h 1600515"/>
              <a:gd name="connsiteX25" fmla="*/ 6065772 w 9076830"/>
              <a:gd name="connsiteY25" fmla="*/ 956186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62692 h 1600515"/>
              <a:gd name="connsiteX31" fmla="*/ 7769688 w 9076830"/>
              <a:gd name="connsiteY31" fmla="*/ 116310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12037 w 9076830"/>
              <a:gd name="connsiteY35" fmla="*/ 1151659 h 1600515"/>
              <a:gd name="connsiteX36" fmla="*/ 8715083 w 9076830"/>
              <a:gd name="connsiteY36" fmla="*/ 1152762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41947 w 9076830"/>
              <a:gd name="connsiteY4" fmla="*/ 1534343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747927 w 9076830"/>
              <a:gd name="connsiteY24" fmla="*/ 321482 h 1600515"/>
              <a:gd name="connsiteX25" fmla="*/ 6007811 w 9076830"/>
              <a:gd name="connsiteY25" fmla="*/ 594585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62692 h 1600515"/>
              <a:gd name="connsiteX31" fmla="*/ 7769688 w 9076830"/>
              <a:gd name="connsiteY31" fmla="*/ 116310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12037 w 9076830"/>
              <a:gd name="connsiteY35" fmla="*/ 1151659 h 1600515"/>
              <a:gd name="connsiteX36" fmla="*/ 8715083 w 9076830"/>
              <a:gd name="connsiteY36" fmla="*/ 1152762 h 1600515"/>
              <a:gd name="connsiteX37" fmla="*/ 8714508 w 9076830"/>
              <a:gd name="connsiteY37" fmla="*/ 477541 h 1600515"/>
              <a:gd name="connsiteX38" fmla="*/ 9076830 w 9076830"/>
              <a:gd name="connsiteY38" fmla="*/ 213951 h 1600515"/>
              <a:gd name="connsiteX0" fmla="*/ 0 w 9076830"/>
              <a:gd name="connsiteY0" fmla="*/ 808945 h 1600515"/>
              <a:gd name="connsiteX1" fmla="*/ 530207 w 9076830"/>
              <a:gd name="connsiteY1" fmla="*/ 500563 h 1600515"/>
              <a:gd name="connsiteX2" fmla="*/ 1050878 w 9076830"/>
              <a:gd name="connsiteY2" fmla="*/ 768001 h 1600515"/>
              <a:gd name="connsiteX3" fmla="*/ 1050879 w 9076830"/>
              <a:gd name="connsiteY3" fmla="*/ 1528002 h 1600515"/>
              <a:gd name="connsiteX4" fmla="*/ 1255335 w 9076830"/>
              <a:gd name="connsiteY4" fmla="*/ 1519776 h 1600515"/>
              <a:gd name="connsiteX5" fmla="*/ 1255594 w 9076830"/>
              <a:gd name="connsiteY5" fmla="*/ 467751 h 1600515"/>
              <a:gd name="connsiteX6" fmla="*/ 1528549 w 9076830"/>
              <a:gd name="connsiteY6" fmla="*/ 317625 h 1600515"/>
              <a:gd name="connsiteX7" fmla="*/ 1583141 w 9076830"/>
              <a:gd name="connsiteY7" fmla="*/ 481398 h 1600515"/>
              <a:gd name="connsiteX8" fmla="*/ 1869744 w 9076830"/>
              <a:gd name="connsiteY8" fmla="*/ 317625 h 1600515"/>
              <a:gd name="connsiteX9" fmla="*/ 1965278 w 9076830"/>
              <a:gd name="connsiteY9" fmla="*/ 454103 h 1600515"/>
              <a:gd name="connsiteX10" fmla="*/ 2210938 w 9076830"/>
              <a:gd name="connsiteY10" fmla="*/ 331273 h 1600515"/>
              <a:gd name="connsiteX11" fmla="*/ 2279176 w 9076830"/>
              <a:gd name="connsiteY11" fmla="*/ 481398 h 1600515"/>
              <a:gd name="connsiteX12" fmla="*/ 2284603 w 9076830"/>
              <a:gd name="connsiteY12" fmla="*/ 1560536 h 1600515"/>
              <a:gd name="connsiteX13" fmla="*/ 2784144 w 9076830"/>
              <a:gd name="connsiteY13" fmla="*/ 1600515 h 1600515"/>
              <a:gd name="connsiteX14" fmla="*/ 2797791 w 9076830"/>
              <a:gd name="connsiteY14" fmla="*/ 795297 h 1600515"/>
              <a:gd name="connsiteX15" fmla="*/ 2620370 w 9076830"/>
              <a:gd name="connsiteY15" fmla="*/ 808945 h 1600515"/>
              <a:gd name="connsiteX16" fmla="*/ 3193576 w 9076830"/>
              <a:gd name="connsiteY16" fmla="*/ 276682 h 1600515"/>
              <a:gd name="connsiteX17" fmla="*/ 3684896 w 9076830"/>
              <a:gd name="connsiteY17" fmla="*/ 740706 h 1600515"/>
              <a:gd name="connsiteX18" fmla="*/ 3493827 w 9076830"/>
              <a:gd name="connsiteY18" fmla="*/ 768001 h 1600515"/>
              <a:gd name="connsiteX19" fmla="*/ 3548418 w 9076830"/>
              <a:gd name="connsiteY19" fmla="*/ 1573219 h 1600515"/>
              <a:gd name="connsiteX20" fmla="*/ 4560408 w 9076830"/>
              <a:gd name="connsiteY20" fmla="*/ 1578457 h 1600515"/>
              <a:gd name="connsiteX21" fmla="*/ 4558352 w 9076830"/>
              <a:gd name="connsiteY21" fmla="*/ 549637 h 1600515"/>
              <a:gd name="connsiteX22" fmla="*/ 5049672 w 9076830"/>
              <a:gd name="connsiteY22" fmla="*/ 167500 h 1600515"/>
              <a:gd name="connsiteX23" fmla="*/ 5513696 w 9076830"/>
              <a:gd name="connsiteY23" fmla="*/ 576933 h 1600515"/>
              <a:gd name="connsiteX24" fmla="*/ 5747927 w 9076830"/>
              <a:gd name="connsiteY24" fmla="*/ 321482 h 1600515"/>
              <a:gd name="connsiteX25" fmla="*/ 6007811 w 9076830"/>
              <a:gd name="connsiteY25" fmla="*/ 594585 h 1600515"/>
              <a:gd name="connsiteX26" fmla="*/ 6237027 w 9076830"/>
              <a:gd name="connsiteY26" fmla="*/ 576933 h 1600515"/>
              <a:gd name="connsiteX27" fmla="*/ 6604201 w 9076830"/>
              <a:gd name="connsiteY27" fmla="*/ 585343 h 1600515"/>
              <a:gd name="connsiteX28" fmla="*/ 6823881 w 9076830"/>
              <a:gd name="connsiteY28" fmla="*/ 249386 h 1600515"/>
              <a:gd name="connsiteX29" fmla="*/ 7077022 w 9076830"/>
              <a:gd name="connsiteY29" fmla="*/ 601743 h 1600515"/>
              <a:gd name="connsiteX30" fmla="*/ 7069705 w 9076830"/>
              <a:gd name="connsiteY30" fmla="*/ 1162692 h 1600515"/>
              <a:gd name="connsiteX31" fmla="*/ 7769688 w 9076830"/>
              <a:gd name="connsiteY31" fmla="*/ 1163101 h 1600515"/>
              <a:gd name="connsiteX32" fmla="*/ 7774539 w 9076830"/>
              <a:gd name="connsiteY32" fmla="*/ 476160 h 1600515"/>
              <a:gd name="connsiteX33" fmla="*/ 8083750 w 9076830"/>
              <a:gd name="connsiteY33" fmla="*/ 0 h 1600515"/>
              <a:gd name="connsiteX34" fmla="*/ 8417298 w 9076830"/>
              <a:gd name="connsiteY34" fmla="*/ 482919 h 1600515"/>
              <a:gd name="connsiteX35" fmla="*/ 8412037 w 9076830"/>
              <a:gd name="connsiteY35" fmla="*/ 1151659 h 1600515"/>
              <a:gd name="connsiteX36" fmla="*/ 8715083 w 9076830"/>
              <a:gd name="connsiteY36" fmla="*/ 1152762 h 1600515"/>
              <a:gd name="connsiteX37" fmla="*/ 8714508 w 9076830"/>
              <a:gd name="connsiteY37" fmla="*/ 477541 h 1600515"/>
              <a:gd name="connsiteX38" fmla="*/ 9076830 w 9076830"/>
              <a:gd name="connsiteY38" fmla="*/ 213951 h 1600515"/>
              <a:gd name="connsiteX0" fmla="*/ 0 w 9076830"/>
              <a:gd name="connsiteY0" fmla="*/ 808945 h 1578457"/>
              <a:gd name="connsiteX1" fmla="*/ 530207 w 9076830"/>
              <a:gd name="connsiteY1" fmla="*/ 500563 h 1578457"/>
              <a:gd name="connsiteX2" fmla="*/ 1050878 w 9076830"/>
              <a:gd name="connsiteY2" fmla="*/ 768001 h 1578457"/>
              <a:gd name="connsiteX3" fmla="*/ 1050879 w 9076830"/>
              <a:gd name="connsiteY3" fmla="*/ 1528002 h 1578457"/>
              <a:gd name="connsiteX4" fmla="*/ 1255335 w 9076830"/>
              <a:gd name="connsiteY4" fmla="*/ 1519776 h 1578457"/>
              <a:gd name="connsiteX5" fmla="*/ 1255594 w 9076830"/>
              <a:gd name="connsiteY5" fmla="*/ 467751 h 1578457"/>
              <a:gd name="connsiteX6" fmla="*/ 1528549 w 9076830"/>
              <a:gd name="connsiteY6" fmla="*/ 317625 h 1578457"/>
              <a:gd name="connsiteX7" fmla="*/ 1583141 w 9076830"/>
              <a:gd name="connsiteY7" fmla="*/ 481398 h 1578457"/>
              <a:gd name="connsiteX8" fmla="*/ 1869744 w 9076830"/>
              <a:gd name="connsiteY8" fmla="*/ 317625 h 1578457"/>
              <a:gd name="connsiteX9" fmla="*/ 1965278 w 9076830"/>
              <a:gd name="connsiteY9" fmla="*/ 454103 h 1578457"/>
              <a:gd name="connsiteX10" fmla="*/ 2210938 w 9076830"/>
              <a:gd name="connsiteY10" fmla="*/ 331273 h 1578457"/>
              <a:gd name="connsiteX11" fmla="*/ 2279176 w 9076830"/>
              <a:gd name="connsiteY11" fmla="*/ 481398 h 1578457"/>
              <a:gd name="connsiteX12" fmla="*/ 2284603 w 9076830"/>
              <a:gd name="connsiteY12" fmla="*/ 1560536 h 1578457"/>
              <a:gd name="connsiteX13" fmla="*/ 2790839 w 9076830"/>
              <a:gd name="connsiteY13" fmla="*/ 1556814 h 1578457"/>
              <a:gd name="connsiteX14" fmla="*/ 2797791 w 9076830"/>
              <a:gd name="connsiteY14" fmla="*/ 795297 h 1578457"/>
              <a:gd name="connsiteX15" fmla="*/ 2620370 w 9076830"/>
              <a:gd name="connsiteY15" fmla="*/ 808945 h 1578457"/>
              <a:gd name="connsiteX16" fmla="*/ 3193576 w 9076830"/>
              <a:gd name="connsiteY16" fmla="*/ 276682 h 1578457"/>
              <a:gd name="connsiteX17" fmla="*/ 3684896 w 9076830"/>
              <a:gd name="connsiteY17" fmla="*/ 740706 h 1578457"/>
              <a:gd name="connsiteX18" fmla="*/ 3493827 w 9076830"/>
              <a:gd name="connsiteY18" fmla="*/ 768001 h 1578457"/>
              <a:gd name="connsiteX19" fmla="*/ 3548418 w 9076830"/>
              <a:gd name="connsiteY19" fmla="*/ 1573219 h 1578457"/>
              <a:gd name="connsiteX20" fmla="*/ 4560408 w 9076830"/>
              <a:gd name="connsiteY20" fmla="*/ 1578457 h 1578457"/>
              <a:gd name="connsiteX21" fmla="*/ 4558352 w 9076830"/>
              <a:gd name="connsiteY21" fmla="*/ 549637 h 1578457"/>
              <a:gd name="connsiteX22" fmla="*/ 5049672 w 9076830"/>
              <a:gd name="connsiteY22" fmla="*/ 167500 h 1578457"/>
              <a:gd name="connsiteX23" fmla="*/ 5513696 w 9076830"/>
              <a:gd name="connsiteY23" fmla="*/ 576933 h 1578457"/>
              <a:gd name="connsiteX24" fmla="*/ 5747927 w 9076830"/>
              <a:gd name="connsiteY24" fmla="*/ 321482 h 1578457"/>
              <a:gd name="connsiteX25" fmla="*/ 6007811 w 9076830"/>
              <a:gd name="connsiteY25" fmla="*/ 594585 h 1578457"/>
              <a:gd name="connsiteX26" fmla="*/ 6237027 w 9076830"/>
              <a:gd name="connsiteY26" fmla="*/ 576933 h 1578457"/>
              <a:gd name="connsiteX27" fmla="*/ 6604201 w 9076830"/>
              <a:gd name="connsiteY27" fmla="*/ 585343 h 1578457"/>
              <a:gd name="connsiteX28" fmla="*/ 6823881 w 9076830"/>
              <a:gd name="connsiteY28" fmla="*/ 249386 h 1578457"/>
              <a:gd name="connsiteX29" fmla="*/ 7077022 w 9076830"/>
              <a:gd name="connsiteY29" fmla="*/ 601743 h 1578457"/>
              <a:gd name="connsiteX30" fmla="*/ 7069705 w 9076830"/>
              <a:gd name="connsiteY30" fmla="*/ 1162692 h 1578457"/>
              <a:gd name="connsiteX31" fmla="*/ 7769688 w 9076830"/>
              <a:gd name="connsiteY31" fmla="*/ 1163101 h 1578457"/>
              <a:gd name="connsiteX32" fmla="*/ 7774539 w 9076830"/>
              <a:gd name="connsiteY32" fmla="*/ 476160 h 1578457"/>
              <a:gd name="connsiteX33" fmla="*/ 8083750 w 9076830"/>
              <a:gd name="connsiteY33" fmla="*/ 0 h 1578457"/>
              <a:gd name="connsiteX34" fmla="*/ 8417298 w 9076830"/>
              <a:gd name="connsiteY34" fmla="*/ 482919 h 1578457"/>
              <a:gd name="connsiteX35" fmla="*/ 8412037 w 9076830"/>
              <a:gd name="connsiteY35" fmla="*/ 1151659 h 1578457"/>
              <a:gd name="connsiteX36" fmla="*/ 8715083 w 9076830"/>
              <a:gd name="connsiteY36" fmla="*/ 1152762 h 1578457"/>
              <a:gd name="connsiteX37" fmla="*/ 8714508 w 9076830"/>
              <a:gd name="connsiteY37" fmla="*/ 477541 h 1578457"/>
              <a:gd name="connsiteX38" fmla="*/ 9076830 w 9076830"/>
              <a:gd name="connsiteY38" fmla="*/ 213951 h 1578457"/>
              <a:gd name="connsiteX0" fmla="*/ 0 w 9076830"/>
              <a:gd name="connsiteY0" fmla="*/ 808945 h 1578457"/>
              <a:gd name="connsiteX1" fmla="*/ 530207 w 9076830"/>
              <a:gd name="connsiteY1" fmla="*/ 500563 h 1578457"/>
              <a:gd name="connsiteX2" fmla="*/ 1050878 w 9076830"/>
              <a:gd name="connsiteY2" fmla="*/ 768001 h 1578457"/>
              <a:gd name="connsiteX3" fmla="*/ 1050879 w 9076830"/>
              <a:gd name="connsiteY3" fmla="*/ 1528002 h 1578457"/>
              <a:gd name="connsiteX4" fmla="*/ 1255335 w 9076830"/>
              <a:gd name="connsiteY4" fmla="*/ 1519776 h 1578457"/>
              <a:gd name="connsiteX5" fmla="*/ 1255594 w 9076830"/>
              <a:gd name="connsiteY5" fmla="*/ 467751 h 1578457"/>
              <a:gd name="connsiteX6" fmla="*/ 1528549 w 9076830"/>
              <a:gd name="connsiteY6" fmla="*/ 317625 h 1578457"/>
              <a:gd name="connsiteX7" fmla="*/ 1583141 w 9076830"/>
              <a:gd name="connsiteY7" fmla="*/ 481398 h 1578457"/>
              <a:gd name="connsiteX8" fmla="*/ 1869744 w 9076830"/>
              <a:gd name="connsiteY8" fmla="*/ 317625 h 1578457"/>
              <a:gd name="connsiteX9" fmla="*/ 1965278 w 9076830"/>
              <a:gd name="connsiteY9" fmla="*/ 454103 h 1578457"/>
              <a:gd name="connsiteX10" fmla="*/ 2210938 w 9076830"/>
              <a:gd name="connsiteY10" fmla="*/ 331273 h 1578457"/>
              <a:gd name="connsiteX11" fmla="*/ 2279176 w 9076830"/>
              <a:gd name="connsiteY11" fmla="*/ 481398 h 1578457"/>
              <a:gd name="connsiteX12" fmla="*/ 2284603 w 9076830"/>
              <a:gd name="connsiteY12" fmla="*/ 1560536 h 1578457"/>
              <a:gd name="connsiteX13" fmla="*/ 2790839 w 9076830"/>
              <a:gd name="connsiteY13" fmla="*/ 1556814 h 1578457"/>
              <a:gd name="connsiteX14" fmla="*/ 2791098 w 9076830"/>
              <a:gd name="connsiteY14" fmla="*/ 809864 h 1578457"/>
              <a:gd name="connsiteX15" fmla="*/ 2620370 w 9076830"/>
              <a:gd name="connsiteY15" fmla="*/ 808945 h 1578457"/>
              <a:gd name="connsiteX16" fmla="*/ 3193576 w 9076830"/>
              <a:gd name="connsiteY16" fmla="*/ 276682 h 1578457"/>
              <a:gd name="connsiteX17" fmla="*/ 3684896 w 9076830"/>
              <a:gd name="connsiteY17" fmla="*/ 740706 h 1578457"/>
              <a:gd name="connsiteX18" fmla="*/ 3493827 w 9076830"/>
              <a:gd name="connsiteY18" fmla="*/ 768001 h 1578457"/>
              <a:gd name="connsiteX19" fmla="*/ 3548418 w 9076830"/>
              <a:gd name="connsiteY19" fmla="*/ 1573219 h 1578457"/>
              <a:gd name="connsiteX20" fmla="*/ 4560408 w 9076830"/>
              <a:gd name="connsiteY20" fmla="*/ 1578457 h 1578457"/>
              <a:gd name="connsiteX21" fmla="*/ 4558352 w 9076830"/>
              <a:gd name="connsiteY21" fmla="*/ 549637 h 1578457"/>
              <a:gd name="connsiteX22" fmla="*/ 5049672 w 9076830"/>
              <a:gd name="connsiteY22" fmla="*/ 167500 h 1578457"/>
              <a:gd name="connsiteX23" fmla="*/ 5513696 w 9076830"/>
              <a:gd name="connsiteY23" fmla="*/ 576933 h 1578457"/>
              <a:gd name="connsiteX24" fmla="*/ 5747927 w 9076830"/>
              <a:gd name="connsiteY24" fmla="*/ 321482 h 1578457"/>
              <a:gd name="connsiteX25" fmla="*/ 6007811 w 9076830"/>
              <a:gd name="connsiteY25" fmla="*/ 594585 h 1578457"/>
              <a:gd name="connsiteX26" fmla="*/ 6237027 w 9076830"/>
              <a:gd name="connsiteY26" fmla="*/ 576933 h 1578457"/>
              <a:gd name="connsiteX27" fmla="*/ 6604201 w 9076830"/>
              <a:gd name="connsiteY27" fmla="*/ 585343 h 1578457"/>
              <a:gd name="connsiteX28" fmla="*/ 6823881 w 9076830"/>
              <a:gd name="connsiteY28" fmla="*/ 249386 h 1578457"/>
              <a:gd name="connsiteX29" fmla="*/ 7077022 w 9076830"/>
              <a:gd name="connsiteY29" fmla="*/ 601743 h 1578457"/>
              <a:gd name="connsiteX30" fmla="*/ 7069705 w 9076830"/>
              <a:gd name="connsiteY30" fmla="*/ 1162692 h 1578457"/>
              <a:gd name="connsiteX31" fmla="*/ 7769688 w 9076830"/>
              <a:gd name="connsiteY31" fmla="*/ 1163101 h 1578457"/>
              <a:gd name="connsiteX32" fmla="*/ 7774539 w 9076830"/>
              <a:gd name="connsiteY32" fmla="*/ 476160 h 1578457"/>
              <a:gd name="connsiteX33" fmla="*/ 8083750 w 9076830"/>
              <a:gd name="connsiteY33" fmla="*/ 0 h 1578457"/>
              <a:gd name="connsiteX34" fmla="*/ 8417298 w 9076830"/>
              <a:gd name="connsiteY34" fmla="*/ 482919 h 1578457"/>
              <a:gd name="connsiteX35" fmla="*/ 8412037 w 9076830"/>
              <a:gd name="connsiteY35" fmla="*/ 1151659 h 1578457"/>
              <a:gd name="connsiteX36" fmla="*/ 8715083 w 9076830"/>
              <a:gd name="connsiteY36" fmla="*/ 1152762 h 1578457"/>
              <a:gd name="connsiteX37" fmla="*/ 8714508 w 9076830"/>
              <a:gd name="connsiteY37" fmla="*/ 477541 h 1578457"/>
              <a:gd name="connsiteX38" fmla="*/ 9076830 w 9076830"/>
              <a:gd name="connsiteY38" fmla="*/ 213951 h 1578457"/>
              <a:gd name="connsiteX0" fmla="*/ 0 w 9076830"/>
              <a:gd name="connsiteY0" fmla="*/ 808945 h 1578457"/>
              <a:gd name="connsiteX1" fmla="*/ 530207 w 9076830"/>
              <a:gd name="connsiteY1" fmla="*/ 500563 h 1578457"/>
              <a:gd name="connsiteX2" fmla="*/ 1050878 w 9076830"/>
              <a:gd name="connsiteY2" fmla="*/ 768001 h 1578457"/>
              <a:gd name="connsiteX3" fmla="*/ 1050879 w 9076830"/>
              <a:gd name="connsiteY3" fmla="*/ 1528002 h 1578457"/>
              <a:gd name="connsiteX4" fmla="*/ 1255335 w 9076830"/>
              <a:gd name="connsiteY4" fmla="*/ 1519776 h 1578457"/>
              <a:gd name="connsiteX5" fmla="*/ 1255594 w 9076830"/>
              <a:gd name="connsiteY5" fmla="*/ 467751 h 1578457"/>
              <a:gd name="connsiteX6" fmla="*/ 1528549 w 9076830"/>
              <a:gd name="connsiteY6" fmla="*/ 317625 h 1578457"/>
              <a:gd name="connsiteX7" fmla="*/ 1583141 w 9076830"/>
              <a:gd name="connsiteY7" fmla="*/ 481398 h 1578457"/>
              <a:gd name="connsiteX8" fmla="*/ 1869744 w 9076830"/>
              <a:gd name="connsiteY8" fmla="*/ 317625 h 1578457"/>
              <a:gd name="connsiteX9" fmla="*/ 1965278 w 9076830"/>
              <a:gd name="connsiteY9" fmla="*/ 454103 h 1578457"/>
              <a:gd name="connsiteX10" fmla="*/ 2210938 w 9076830"/>
              <a:gd name="connsiteY10" fmla="*/ 331273 h 1578457"/>
              <a:gd name="connsiteX11" fmla="*/ 2279176 w 9076830"/>
              <a:gd name="connsiteY11" fmla="*/ 481398 h 1578457"/>
              <a:gd name="connsiteX12" fmla="*/ 2284603 w 9076830"/>
              <a:gd name="connsiteY12" fmla="*/ 1560536 h 1578457"/>
              <a:gd name="connsiteX13" fmla="*/ 2790839 w 9076830"/>
              <a:gd name="connsiteY13" fmla="*/ 1556814 h 1578457"/>
              <a:gd name="connsiteX14" fmla="*/ 2791098 w 9076830"/>
              <a:gd name="connsiteY14" fmla="*/ 809864 h 1578457"/>
              <a:gd name="connsiteX15" fmla="*/ 2620370 w 9076830"/>
              <a:gd name="connsiteY15" fmla="*/ 808945 h 1578457"/>
              <a:gd name="connsiteX16" fmla="*/ 3193576 w 9076830"/>
              <a:gd name="connsiteY16" fmla="*/ 276682 h 1578457"/>
              <a:gd name="connsiteX17" fmla="*/ 3684896 w 9076830"/>
              <a:gd name="connsiteY17" fmla="*/ 764985 h 1578457"/>
              <a:gd name="connsiteX18" fmla="*/ 3493827 w 9076830"/>
              <a:gd name="connsiteY18" fmla="*/ 768001 h 1578457"/>
              <a:gd name="connsiteX19" fmla="*/ 3548418 w 9076830"/>
              <a:gd name="connsiteY19" fmla="*/ 1573219 h 1578457"/>
              <a:gd name="connsiteX20" fmla="*/ 4560408 w 9076830"/>
              <a:gd name="connsiteY20" fmla="*/ 1578457 h 1578457"/>
              <a:gd name="connsiteX21" fmla="*/ 4558352 w 9076830"/>
              <a:gd name="connsiteY21" fmla="*/ 549637 h 1578457"/>
              <a:gd name="connsiteX22" fmla="*/ 5049672 w 9076830"/>
              <a:gd name="connsiteY22" fmla="*/ 167500 h 1578457"/>
              <a:gd name="connsiteX23" fmla="*/ 5513696 w 9076830"/>
              <a:gd name="connsiteY23" fmla="*/ 576933 h 1578457"/>
              <a:gd name="connsiteX24" fmla="*/ 5747927 w 9076830"/>
              <a:gd name="connsiteY24" fmla="*/ 321482 h 1578457"/>
              <a:gd name="connsiteX25" fmla="*/ 6007811 w 9076830"/>
              <a:gd name="connsiteY25" fmla="*/ 594585 h 1578457"/>
              <a:gd name="connsiteX26" fmla="*/ 6237027 w 9076830"/>
              <a:gd name="connsiteY26" fmla="*/ 576933 h 1578457"/>
              <a:gd name="connsiteX27" fmla="*/ 6604201 w 9076830"/>
              <a:gd name="connsiteY27" fmla="*/ 585343 h 1578457"/>
              <a:gd name="connsiteX28" fmla="*/ 6823881 w 9076830"/>
              <a:gd name="connsiteY28" fmla="*/ 249386 h 1578457"/>
              <a:gd name="connsiteX29" fmla="*/ 7077022 w 9076830"/>
              <a:gd name="connsiteY29" fmla="*/ 601743 h 1578457"/>
              <a:gd name="connsiteX30" fmla="*/ 7069705 w 9076830"/>
              <a:gd name="connsiteY30" fmla="*/ 1162692 h 1578457"/>
              <a:gd name="connsiteX31" fmla="*/ 7769688 w 9076830"/>
              <a:gd name="connsiteY31" fmla="*/ 1163101 h 1578457"/>
              <a:gd name="connsiteX32" fmla="*/ 7774539 w 9076830"/>
              <a:gd name="connsiteY32" fmla="*/ 476160 h 1578457"/>
              <a:gd name="connsiteX33" fmla="*/ 8083750 w 9076830"/>
              <a:gd name="connsiteY33" fmla="*/ 0 h 1578457"/>
              <a:gd name="connsiteX34" fmla="*/ 8417298 w 9076830"/>
              <a:gd name="connsiteY34" fmla="*/ 482919 h 1578457"/>
              <a:gd name="connsiteX35" fmla="*/ 8412037 w 9076830"/>
              <a:gd name="connsiteY35" fmla="*/ 1151659 h 1578457"/>
              <a:gd name="connsiteX36" fmla="*/ 8715083 w 9076830"/>
              <a:gd name="connsiteY36" fmla="*/ 1152762 h 1578457"/>
              <a:gd name="connsiteX37" fmla="*/ 8714508 w 9076830"/>
              <a:gd name="connsiteY37" fmla="*/ 477541 h 1578457"/>
              <a:gd name="connsiteX38" fmla="*/ 9076830 w 9076830"/>
              <a:gd name="connsiteY38" fmla="*/ 213951 h 1578457"/>
              <a:gd name="connsiteX0" fmla="*/ 0 w 9076830"/>
              <a:gd name="connsiteY0" fmla="*/ 808945 h 1578457"/>
              <a:gd name="connsiteX1" fmla="*/ 530207 w 9076830"/>
              <a:gd name="connsiteY1" fmla="*/ 500563 h 1578457"/>
              <a:gd name="connsiteX2" fmla="*/ 1050878 w 9076830"/>
              <a:gd name="connsiteY2" fmla="*/ 768001 h 1578457"/>
              <a:gd name="connsiteX3" fmla="*/ 1050879 w 9076830"/>
              <a:gd name="connsiteY3" fmla="*/ 1528002 h 1578457"/>
              <a:gd name="connsiteX4" fmla="*/ 1255335 w 9076830"/>
              <a:gd name="connsiteY4" fmla="*/ 1519776 h 1578457"/>
              <a:gd name="connsiteX5" fmla="*/ 1255594 w 9076830"/>
              <a:gd name="connsiteY5" fmla="*/ 467751 h 1578457"/>
              <a:gd name="connsiteX6" fmla="*/ 1528549 w 9076830"/>
              <a:gd name="connsiteY6" fmla="*/ 317625 h 1578457"/>
              <a:gd name="connsiteX7" fmla="*/ 1583141 w 9076830"/>
              <a:gd name="connsiteY7" fmla="*/ 481398 h 1578457"/>
              <a:gd name="connsiteX8" fmla="*/ 1869744 w 9076830"/>
              <a:gd name="connsiteY8" fmla="*/ 317625 h 1578457"/>
              <a:gd name="connsiteX9" fmla="*/ 1965278 w 9076830"/>
              <a:gd name="connsiteY9" fmla="*/ 454103 h 1578457"/>
              <a:gd name="connsiteX10" fmla="*/ 2210938 w 9076830"/>
              <a:gd name="connsiteY10" fmla="*/ 331273 h 1578457"/>
              <a:gd name="connsiteX11" fmla="*/ 2279176 w 9076830"/>
              <a:gd name="connsiteY11" fmla="*/ 481398 h 1578457"/>
              <a:gd name="connsiteX12" fmla="*/ 2284603 w 9076830"/>
              <a:gd name="connsiteY12" fmla="*/ 1560536 h 1578457"/>
              <a:gd name="connsiteX13" fmla="*/ 2790839 w 9076830"/>
              <a:gd name="connsiteY13" fmla="*/ 1556814 h 1578457"/>
              <a:gd name="connsiteX14" fmla="*/ 2791098 w 9076830"/>
              <a:gd name="connsiteY14" fmla="*/ 809864 h 1578457"/>
              <a:gd name="connsiteX15" fmla="*/ 2620370 w 9076830"/>
              <a:gd name="connsiteY15" fmla="*/ 808945 h 1578457"/>
              <a:gd name="connsiteX16" fmla="*/ 3193576 w 9076830"/>
              <a:gd name="connsiteY16" fmla="*/ 276682 h 1578457"/>
              <a:gd name="connsiteX17" fmla="*/ 3684896 w 9076830"/>
              <a:gd name="connsiteY17" fmla="*/ 764985 h 1578457"/>
              <a:gd name="connsiteX18" fmla="*/ 3493827 w 9076830"/>
              <a:gd name="connsiteY18" fmla="*/ 768001 h 1578457"/>
              <a:gd name="connsiteX19" fmla="*/ 3508256 w 9076830"/>
              <a:gd name="connsiteY19" fmla="*/ 1573219 h 1578457"/>
              <a:gd name="connsiteX20" fmla="*/ 4560408 w 9076830"/>
              <a:gd name="connsiteY20" fmla="*/ 1578457 h 1578457"/>
              <a:gd name="connsiteX21" fmla="*/ 4558352 w 9076830"/>
              <a:gd name="connsiteY21" fmla="*/ 549637 h 1578457"/>
              <a:gd name="connsiteX22" fmla="*/ 5049672 w 9076830"/>
              <a:gd name="connsiteY22" fmla="*/ 167500 h 1578457"/>
              <a:gd name="connsiteX23" fmla="*/ 5513696 w 9076830"/>
              <a:gd name="connsiteY23" fmla="*/ 576933 h 1578457"/>
              <a:gd name="connsiteX24" fmla="*/ 5747927 w 9076830"/>
              <a:gd name="connsiteY24" fmla="*/ 321482 h 1578457"/>
              <a:gd name="connsiteX25" fmla="*/ 6007811 w 9076830"/>
              <a:gd name="connsiteY25" fmla="*/ 594585 h 1578457"/>
              <a:gd name="connsiteX26" fmla="*/ 6237027 w 9076830"/>
              <a:gd name="connsiteY26" fmla="*/ 576933 h 1578457"/>
              <a:gd name="connsiteX27" fmla="*/ 6604201 w 9076830"/>
              <a:gd name="connsiteY27" fmla="*/ 585343 h 1578457"/>
              <a:gd name="connsiteX28" fmla="*/ 6823881 w 9076830"/>
              <a:gd name="connsiteY28" fmla="*/ 249386 h 1578457"/>
              <a:gd name="connsiteX29" fmla="*/ 7077022 w 9076830"/>
              <a:gd name="connsiteY29" fmla="*/ 601743 h 1578457"/>
              <a:gd name="connsiteX30" fmla="*/ 7069705 w 9076830"/>
              <a:gd name="connsiteY30" fmla="*/ 1162692 h 1578457"/>
              <a:gd name="connsiteX31" fmla="*/ 7769688 w 9076830"/>
              <a:gd name="connsiteY31" fmla="*/ 1163101 h 1578457"/>
              <a:gd name="connsiteX32" fmla="*/ 7774539 w 9076830"/>
              <a:gd name="connsiteY32" fmla="*/ 476160 h 1578457"/>
              <a:gd name="connsiteX33" fmla="*/ 8083750 w 9076830"/>
              <a:gd name="connsiteY33" fmla="*/ 0 h 1578457"/>
              <a:gd name="connsiteX34" fmla="*/ 8417298 w 9076830"/>
              <a:gd name="connsiteY34" fmla="*/ 482919 h 1578457"/>
              <a:gd name="connsiteX35" fmla="*/ 8412037 w 9076830"/>
              <a:gd name="connsiteY35" fmla="*/ 1151659 h 1578457"/>
              <a:gd name="connsiteX36" fmla="*/ 8715083 w 9076830"/>
              <a:gd name="connsiteY36" fmla="*/ 1152762 h 1578457"/>
              <a:gd name="connsiteX37" fmla="*/ 8714508 w 9076830"/>
              <a:gd name="connsiteY37" fmla="*/ 477541 h 1578457"/>
              <a:gd name="connsiteX38" fmla="*/ 9076830 w 9076830"/>
              <a:gd name="connsiteY38" fmla="*/ 213951 h 1578457"/>
              <a:gd name="connsiteX0" fmla="*/ 0 w 9076830"/>
              <a:gd name="connsiteY0" fmla="*/ 808945 h 1578457"/>
              <a:gd name="connsiteX1" fmla="*/ 530207 w 9076830"/>
              <a:gd name="connsiteY1" fmla="*/ 500563 h 1578457"/>
              <a:gd name="connsiteX2" fmla="*/ 1050878 w 9076830"/>
              <a:gd name="connsiteY2" fmla="*/ 768001 h 1578457"/>
              <a:gd name="connsiteX3" fmla="*/ 1050879 w 9076830"/>
              <a:gd name="connsiteY3" fmla="*/ 1528002 h 1578457"/>
              <a:gd name="connsiteX4" fmla="*/ 1255335 w 9076830"/>
              <a:gd name="connsiteY4" fmla="*/ 1519776 h 1578457"/>
              <a:gd name="connsiteX5" fmla="*/ 1255594 w 9076830"/>
              <a:gd name="connsiteY5" fmla="*/ 467751 h 1578457"/>
              <a:gd name="connsiteX6" fmla="*/ 1528549 w 9076830"/>
              <a:gd name="connsiteY6" fmla="*/ 317625 h 1578457"/>
              <a:gd name="connsiteX7" fmla="*/ 1583141 w 9076830"/>
              <a:gd name="connsiteY7" fmla="*/ 481398 h 1578457"/>
              <a:gd name="connsiteX8" fmla="*/ 1869744 w 9076830"/>
              <a:gd name="connsiteY8" fmla="*/ 317625 h 1578457"/>
              <a:gd name="connsiteX9" fmla="*/ 1965278 w 9076830"/>
              <a:gd name="connsiteY9" fmla="*/ 454103 h 1578457"/>
              <a:gd name="connsiteX10" fmla="*/ 2210938 w 9076830"/>
              <a:gd name="connsiteY10" fmla="*/ 331273 h 1578457"/>
              <a:gd name="connsiteX11" fmla="*/ 2279176 w 9076830"/>
              <a:gd name="connsiteY11" fmla="*/ 481398 h 1578457"/>
              <a:gd name="connsiteX12" fmla="*/ 2284603 w 9076830"/>
              <a:gd name="connsiteY12" fmla="*/ 1560536 h 1578457"/>
              <a:gd name="connsiteX13" fmla="*/ 2790839 w 9076830"/>
              <a:gd name="connsiteY13" fmla="*/ 1556814 h 1578457"/>
              <a:gd name="connsiteX14" fmla="*/ 2791098 w 9076830"/>
              <a:gd name="connsiteY14" fmla="*/ 809864 h 1578457"/>
              <a:gd name="connsiteX15" fmla="*/ 2620370 w 9076830"/>
              <a:gd name="connsiteY15" fmla="*/ 808945 h 1578457"/>
              <a:gd name="connsiteX16" fmla="*/ 3193576 w 9076830"/>
              <a:gd name="connsiteY16" fmla="*/ 276682 h 1578457"/>
              <a:gd name="connsiteX17" fmla="*/ 3684896 w 9076830"/>
              <a:gd name="connsiteY17" fmla="*/ 764985 h 1578457"/>
              <a:gd name="connsiteX18" fmla="*/ 3493827 w 9076830"/>
              <a:gd name="connsiteY18" fmla="*/ 768001 h 1578457"/>
              <a:gd name="connsiteX19" fmla="*/ 3494869 w 9076830"/>
              <a:gd name="connsiteY19" fmla="*/ 1578075 h 1578457"/>
              <a:gd name="connsiteX20" fmla="*/ 4560408 w 9076830"/>
              <a:gd name="connsiteY20" fmla="*/ 1578457 h 1578457"/>
              <a:gd name="connsiteX21" fmla="*/ 4558352 w 9076830"/>
              <a:gd name="connsiteY21" fmla="*/ 549637 h 1578457"/>
              <a:gd name="connsiteX22" fmla="*/ 5049672 w 9076830"/>
              <a:gd name="connsiteY22" fmla="*/ 167500 h 1578457"/>
              <a:gd name="connsiteX23" fmla="*/ 5513696 w 9076830"/>
              <a:gd name="connsiteY23" fmla="*/ 576933 h 1578457"/>
              <a:gd name="connsiteX24" fmla="*/ 5747927 w 9076830"/>
              <a:gd name="connsiteY24" fmla="*/ 321482 h 1578457"/>
              <a:gd name="connsiteX25" fmla="*/ 6007811 w 9076830"/>
              <a:gd name="connsiteY25" fmla="*/ 594585 h 1578457"/>
              <a:gd name="connsiteX26" fmla="*/ 6237027 w 9076830"/>
              <a:gd name="connsiteY26" fmla="*/ 576933 h 1578457"/>
              <a:gd name="connsiteX27" fmla="*/ 6604201 w 9076830"/>
              <a:gd name="connsiteY27" fmla="*/ 585343 h 1578457"/>
              <a:gd name="connsiteX28" fmla="*/ 6823881 w 9076830"/>
              <a:gd name="connsiteY28" fmla="*/ 249386 h 1578457"/>
              <a:gd name="connsiteX29" fmla="*/ 7077022 w 9076830"/>
              <a:gd name="connsiteY29" fmla="*/ 601743 h 1578457"/>
              <a:gd name="connsiteX30" fmla="*/ 7069705 w 9076830"/>
              <a:gd name="connsiteY30" fmla="*/ 1162692 h 1578457"/>
              <a:gd name="connsiteX31" fmla="*/ 7769688 w 9076830"/>
              <a:gd name="connsiteY31" fmla="*/ 1163101 h 1578457"/>
              <a:gd name="connsiteX32" fmla="*/ 7774539 w 9076830"/>
              <a:gd name="connsiteY32" fmla="*/ 476160 h 1578457"/>
              <a:gd name="connsiteX33" fmla="*/ 8083750 w 9076830"/>
              <a:gd name="connsiteY33" fmla="*/ 0 h 1578457"/>
              <a:gd name="connsiteX34" fmla="*/ 8417298 w 9076830"/>
              <a:gd name="connsiteY34" fmla="*/ 482919 h 1578457"/>
              <a:gd name="connsiteX35" fmla="*/ 8412037 w 9076830"/>
              <a:gd name="connsiteY35" fmla="*/ 1151659 h 1578457"/>
              <a:gd name="connsiteX36" fmla="*/ 8715083 w 9076830"/>
              <a:gd name="connsiteY36" fmla="*/ 1152762 h 1578457"/>
              <a:gd name="connsiteX37" fmla="*/ 8714508 w 9076830"/>
              <a:gd name="connsiteY37" fmla="*/ 477541 h 1578457"/>
              <a:gd name="connsiteX38" fmla="*/ 9076830 w 9076830"/>
              <a:gd name="connsiteY38" fmla="*/ 213951 h 1578457"/>
              <a:gd name="connsiteX0" fmla="*/ 0 w 9076830"/>
              <a:gd name="connsiteY0" fmla="*/ 808945 h 1578457"/>
              <a:gd name="connsiteX1" fmla="*/ 530207 w 9076830"/>
              <a:gd name="connsiteY1" fmla="*/ 500563 h 1578457"/>
              <a:gd name="connsiteX2" fmla="*/ 1050878 w 9076830"/>
              <a:gd name="connsiteY2" fmla="*/ 768001 h 1578457"/>
              <a:gd name="connsiteX3" fmla="*/ 1050879 w 9076830"/>
              <a:gd name="connsiteY3" fmla="*/ 1528002 h 1578457"/>
              <a:gd name="connsiteX4" fmla="*/ 1255335 w 9076830"/>
              <a:gd name="connsiteY4" fmla="*/ 1519776 h 1578457"/>
              <a:gd name="connsiteX5" fmla="*/ 1255594 w 9076830"/>
              <a:gd name="connsiteY5" fmla="*/ 467751 h 1578457"/>
              <a:gd name="connsiteX6" fmla="*/ 1528549 w 9076830"/>
              <a:gd name="connsiteY6" fmla="*/ 317625 h 1578457"/>
              <a:gd name="connsiteX7" fmla="*/ 1583141 w 9076830"/>
              <a:gd name="connsiteY7" fmla="*/ 481398 h 1578457"/>
              <a:gd name="connsiteX8" fmla="*/ 1869744 w 9076830"/>
              <a:gd name="connsiteY8" fmla="*/ 317625 h 1578457"/>
              <a:gd name="connsiteX9" fmla="*/ 1965278 w 9076830"/>
              <a:gd name="connsiteY9" fmla="*/ 454103 h 1578457"/>
              <a:gd name="connsiteX10" fmla="*/ 2210938 w 9076830"/>
              <a:gd name="connsiteY10" fmla="*/ 331273 h 1578457"/>
              <a:gd name="connsiteX11" fmla="*/ 2279176 w 9076830"/>
              <a:gd name="connsiteY11" fmla="*/ 481398 h 1578457"/>
              <a:gd name="connsiteX12" fmla="*/ 2284603 w 9076830"/>
              <a:gd name="connsiteY12" fmla="*/ 1560536 h 1578457"/>
              <a:gd name="connsiteX13" fmla="*/ 2790839 w 9076830"/>
              <a:gd name="connsiteY13" fmla="*/ 1556814 h 1578457"/>
              <a:gd name="connsiteX14" fmla="*/ 2791098 w 9076830"/>
              <a:gd name="connsiteY14" fmla="*/ 809864 h 1578457"/>
              <a:gd name="connsiteX15" fmla="*/ 2620370 w 9076830"/>
              <a:gd name="connsiteY15" fmla="*/ 808945 h 1578457"/>
              <a:gd name="connsiteX16" fmla="*/ 3193576 w 9076830"/>
              <a:gd name="connsiteY16" fmla="*/ 276682 h 1578457"/>
              <a:gd name="connsiteX17" fmla="*/ 3684896 w 9076830"/>
              <a:gd name="connsiteY17" fmla="*/ 764985 h 1578457"/>
              <a:gd name="connsiteX18" fmla="*/ 3493827 w 9076830"/>
              <a:gd name="connsiteY18" fmla="*/ 768001 h 1578457"/>
              <a:gd name="connsiteX19" fmla="*/ 3494869 w 9076830"/>
              <a:gd name="connsiteY19" fmla="*/ 1578075 h 1578457"/>
              <a:gd name="connsiteX20" fmla="*/ 4560408 w 9076830"/>
              <a:gd name="connsiteY20" fmla="*/ 1578457 h 1578457"/>
              <a:gd name="connsiteX21" fmla="*/ 4558352 w 9076830"/>
              <a:gd name="connsiteY21" fmla="*/ 549637 h 1578457"/>
              <a:gd name="connsiteX22" fmla="*/ 5049672 w 9076830"/>
              <a:gd name="connsiteY22" fmla="*/ 167500 h 1578457"/>
              <a:gd name="connsiteX23" fmla="*/ 5513696 w 9076830"/>
              <a:gd name="connsiteY23" fmla="*/ 576933 h 1578457"/>
              <a:gd name="connsiteX24" fmla="*/ 5747927 w 9076830"/>
              <a:gd name="connsiteY24" fmla="*/ 321482 h 1578457"/>
              <a:gd name="connsiteX25" fmla="*/ 6007811 w 9076830"/>
              <a:gd name="connsiteY25" fmla="*/ 594585 h 1578457"/>
              <a:gd name="connsiteX26" fmla="*/ 6604201 w 9076830"/>
              <a:gd name="connsiteY26" fmla="*/ 585343 h 1578457"/>
              <a:gd name="connsiteX27" fmla="*/ 6823881 w 9076830"/>
              <a:gd name="connsiteY27" fmla="*/ 249386 h 1578457"/>
              <a:gd name="connsiteX28" fmla="*/ 7077022 w 9076830"/>
              <a:gd name="connsiteY28" fmla="*/ 601743 h 1578457"/>
              <a:gd name="connsiteX29" fmla="*/ 7069705 w 9076830"/>
              <a:gd name="connsiteY29" fmla="*/ 1162692 h 1578457"/>
              <a:gd name="connsiteX30" fmla="*/ 7769688 w 9076830"/>
              <a:gd name="connsiteY30" fmla="*/ 1163101 h 1578457"/>
              <a:gd name="connsiteX31" fmla="*/ 7774539 w 9076830"/>
              <a:gd name="connsiteY31" fmla="*/ 476160 h 1578457"/>
              <a:gd name="connsiteX32" fmla="*/ 8083750 w 9076830"/>
              <a:gd name="connsiteY32" fmla="*/ 0 h 1578457"/>
              <a:gd name="connsiteX33" fmla="*/ 8417298 w 9076830"/>
              <a:gd name="connsiteY33" fmla="*/ 482919 h 1578457"/>
              <a:gd name="connsiteX34" fmla="*/ 8412037 w 9076830"/>
              <a:gd name="connsiteY34" fmla="*/ 1151659 h 1578457"/>
              <a:gd name="connsiteX35" fmla="*/ 8715083 w 9076830"/>
              <a:gd name="connsiteY35" fmla="*/ 1152762 h 1578457"/>
              <a:gd name="connsiteX36" fmla="*/ 8714508 w 9076830"/>
              <a:gd name="connsiteY36" fmla="*/ 477541 h 1578457"/>
              <a:gd name="connsiteX37" fmla="*/ 9076830 w 9076830"/>
              <a:gd name="connsiteY37" fmla="*/ 213951 h 1578457"/>
              <a:gd name="connsiteX0" fmla="*/ 0 w 9076830"/>
              <a:gd name="connsiteY0" fmla="*/ 808945 h 1578457"/>
              <a:gd name="connsiteX1" fmla="*/ 530207 w 9076830"/>
              <a:gd name="connsiteY1" fmla="*/ 500563 h 1578457"/>
              <a:gd name="connsiteX2" fmla="*/ 1050878 w 9076830"/>
              <a:gd name="connsiteY2" fmla="*/ 768001 h 1578457"/>
              <a:gd name="connsiteX3" fmla="*/ 1050879 w 9076830"/>
              <a:gd name="connsiteY3" fmla="*/ 1528002 h 1578457"/>
              <a:gd name="connsiteX4" fmla="*/ 1255335 w 9076830"/>
              <a:gd name="connsiteY4" fmla="*/ 1519776 h 1578457"/>
              <a:gd name="connsiteX5" fmla="*/ 1255594 w 9076830"/>
              <a:gd name="connsiteY5" fmla="*/ 467751 h 1578457"/>
              <a:gd name="connsiteX6" fmla="*/ 1528549 w 9076830"/>
              <a:gd name="connsiteY6" fmla="*/ 317625 h 1578457"/>
              <a:gd name="connsiteX7" fmla="*/ 1583141 w 9076830"/>
              <a:gd name="connsiteY7" fmla="*/ 481398 h 1578457"/>
              <a:gd name="connsiteX8" fmla="*/ 1869744 w 9076830"/>
              <a:gd name="connsiteY8" fmla="*/ 317625 h 1578457"/>
              <a:gd name="connsiteX9" fmla="*/ 1965278 w 9076830"/>
              <a:gd name="connsiteY9" fmla="*/ 454103 h 1578457"/>
              <a:gd name="connsiteX10" fmla="*/ 2210938 w 9076830"/>
              <a:gd name="connsiteY10" fmla="*/ 331273 h 1578457"/>
              <a:gd name="connsiteX11" fmla="*/ 2279176 w 9076830"/>
              <a:gd name="connsiteY11" fmla="*/ 481398 h 1578457"/>
              <a:gd name="connsiteX12" fmla="*/ 2284603 w 9076830"/>
              <a:gd name="connsiteY12" fmla="*/ 1560536 h 1578457"/>
              <a:gd name="connsiteX13" fmla="*/ 2790839 w 9076830"/>
              <a:gd name="connsiteY13" fmla="*/ 1556814 h 1578457"/>
              <a:gd name="connsiteX14" fmla="*/ 2791098 w 9076830"/>
              <a:gd name="connsiteY14" fmla="*/ 809864 h 1578457"/>
              <a:gd name="connsiteX15" fmla="*/ 2620370 w 9076830"/>
              <a:gd name="connsiteY15" fmla="*/ 808945 h 1578457"/>
              <a:gd name="connsiteX16" fmla="*/ 3193576 w 9076830"/>
              <a:gd name="connsiteY16" fmla="*/ 276682 h 1578457"/>
              <a:gd name="connsiteX17" fmla="*/ 3684896 w 9076830"/>
              <a:gd name="connsiteY17" fmla="*/ 764985 h 1578457"/>
              <a:gd name="connsiteX18" fmla="*/ 3493827 w 9076830"/>
              <a:gd name="connsiteY18" fmla="*/ 768001 h 1578457"/>
              <a:gd name="connsiteX19" fmla="*/ 3494869 w 9076830"/>
              <a:gd name="connsiteY19" fmla="*/ 1578075 h 1578457"/>
              <a:gd name="connsiteX20" fmla="*/ 4560408 w 9076830"/>
              <a:gd name="connsiteY20" fmla="*/ 1578457 h 1578457"/>
              <a:gd name="connsiteX21" fmla="*/ 4558352 w 9076830"/>
              <a:gd name="connsiteY21" fmla="*/ 549637 h 1578457"/>
              <a:gd name="connsiteX22" fmla="*/ 5049672 w 9076830"/>
              <a:gd name="connsiteY22" fmla="*/ 167500 h 1578457"/>
              <a:gd name="connsiteX23" fmla="*/ 5513696 w 9076830"/>
              <a:gd name="connsiteY23" fmla="*/ 576933 h 1578457"/>
              <a:gd name="connsiteX24" fmla="*/ 5747927 w 9076830"/>
              <a:gd name="connsiteY24" fmla="*/ 321482 h 1578457"/>
              <a:gd name="connsiteX25" fmla="*/ 6007811 w 9076830"/>
              <a:gd name="connsiteY25" fmla="*/ 594585 h 1578457"/>
              <a:gd name="connsiteX26" fmla="*/ 6564038 w 9076830"/>
              <a:gd name="connsiteY26" fmla="*/ 595054 h 1578457"/>
              <a:gd name="connsiteX27" fmla="*/ 6823881 w 9076830"/>
              <a:gd name="connsiteY27" fmla="*/ 249386 h 1578457"/>
              <a:gd name="connsiteX28" fmla="*/ 7077022 w 9076830"/>
              <a:gd name="connsiteY28" fmla="*/ 601743 h 1578457"/>
              <a:gd name="connsiteX29" fmla="*/ 7069705 w 9076830"/>
              <a:gd name="connsiteY29" fmla="*/ 1162692 h 1578457"/>
              <a:gd name="connsiteX30" fmla="*/ 7769688 w 9076830"/>
              <a:gd name="connsiteY30" fmla="*/ 1163101 h 1578457"/>
              <a:gd name="connsiteX31" fmla="*/ 7774539 w 9076830"/>
              <a:gd name="connsiteY31" fmla="*/ 476160 h 1578457"/>
              <a:gd name="connsiteX32" fmla="*/ 8083750 w 9076830"/>
              <a:gd name="connsiteY32" fmla="*/ 0 h 1578457"/>
              <a:gd name="connsiteX33" fmla="*/ 8417298 w 9076830"/>
              <a:gd name="connsiteY33" fmla="*/ 482919 h 1578457"/>
              <a:gd name="connsiteX34" fmla="*/ 8412037 w 9076830"/>
              <a:gd name="connsiteY34" fmla="*/ 1151659 h 1578457"/>
              <a:gd name="connsiteX35" fmla="*/ 8715083 w 9076830"/>
              <a:gd name="connsiteY35" fmla="*/ 1152762 h 1578457"/>
              <a:gd name="connsiteX36" fmla="*/ 8714508 w 9076830"/>
              <a:gd name="connsiteY36" fmla="*/ 477541 h 1578457"/>
              <a:gd name="connsiteX37" fmla="*/ 9076830 w 9076830"/>
              <a:gd name="connsiteY37" fmla="*/ 213951 h 1578457"/>
              <a:gd name="connsiteX0" fmla="*/ 0 w 9076830"/>
              <a:gd name="connsiteY0" fmla="*/ 808945 h 1578457"/>
              <a:gd name="connsiteX1" fmla="*/ 530207 w 9076830"/>
              <a:gd name="connsiteY1" fmla="*/ 500563 h 1578457"/>
              <a:gd name="connsiteX2" fmla="*/ 1050878 w 9076830"/>
              <a:gd name="connsiteY2" fmla="*/ 768001 h 1578457"/>
              <a:gd name="connsiteX3" fmla="*/ 1050879 w 9076830"/>
              <a:gd name="connsiteY3" fmla="*/ 1528002 h 1578457"/>
              <a:gd name="connsiteX4" fmla="*/ 1255335 w 9076830"/>
              <a:gd name="connsiteY4" fmla="*/ 1519776 h 1578457"/>
              <a:gd name="connsiteX5" fmla="*/ 1255594 w 9076830"/>
              <a:gd name="connsiteY5" fmla="*/ 467751 h 1578457"/>
              <a:gd name="connsiteX6" fmla="*/ 1528549 w 9076830"/>
              <a:gd name="connsiteY6" fmla="*/ 317625 h 1578457"/>
              <a:gd name="connsiteX7" fmla="*/ 1583141 w 9076830"/>
              <a:gd name="connsiteY7" fmla="*/ 481398 h 1578457"/>
              <a:gd name="connsiteX8" fmla="*/ 1869744 w 9076830"/>
              <a:gd name="connsiteY8" fmla="*/ 317625 h 1578457"/>
              <a:gd name="connsiteX9" fmla="*/ 1965278 w 9076830"/>
              <a:gd name="connsiteY9" fmla="*/ 454103 h 1578457"/>
              <a:gd name="connsiteX10" fmla="*/ 2210938 w 9076830"/>
              <a:gd name="connsiteY10" fmla="*/ 331273 h 1578457"/>
              <a:gd name="connsiteX11" fmla="*/ 2279176 w 9076830"/>
              <a:gd name="connsiteY11" fmla="*/ 481398 h 1578457"/>
              <a:gd name="connsiteX12" fmla="*/ 2284603 w 9076830"/>
              <a:gd name="connsiteY12" fmla="*/ 1560536 h 1578457"/>
              <a:gd name="connsiteX13" fmla="*/ 2790839 w 9076830"/>
              <a:gd name="connsiteY13" fmla="*/ 1556814 h 1578457"/>
              <a:gd name="connsiteX14" fmla="*/ 2791098 w 9076830"/>
              <a:gd name="connsiteY14" fmla="*/ 809864 h 1578457"/>
              <a:gd name="connsiteX15" fmla="*/ 2620370 w 9076830"/>
              <a:gd name="connsiteY15" fmla="*/ 808945 h 1578457"/>
              <a:gd name="connsiteX16" fmla="*/ 3193576 w 9076830"/>
              <a:gd name="connsiteY16" fmla="*/ 276682 h 1578457"/>
              <a:gd name="connsiteX17" fmla="*/ 3684896 w 9076830"/>
              <a:gd name="connsiteY17" fmla="*/ 764985 h 1578457"/>
              <a:gd name="connsiteX18" fmla="*/ 3493827 w 9076830"/>
              <a:gd name="connsiteY18" fmla="*/ 768001 h 1578457"/>
              <a:gd name="connsiteX19" fmla="*/ 3494869 w 9076830"/>
              <a:gd name="connsiteY19" fmla="*/ 1578075 h 1578457"/>
              <a:gd name="connsiteX20" fmla="*/ 4560408 w 9076830"/>
              <a:gd name="connsiteY20" fmla="*/ 1578457 h 1578457"/>
              <a:gd name="connsiteX21" fmla="*/ 4558352 w 9076830"/>
              <a:gd name="connsiteY21" fmla="*/ 549637 h 1578457"/>
              <a:gd name="connsiteX22" fmla="*/ 5049672 w 9076830"/>
              <a:gd name="connsiteY22" fmla="*/ 167500 h 1578457"/>
              <a:gd name="connsiteX23" fmla="*/ 5513696 w 9076830"/>
              <a:gd name="connsiteY23" fmla="*/ 576933 h 1578457"/>
              <a:gd name="connsiteX24" fmla="*/ 5747927 w 9076830"/>
              <a:gd name="connsiteY24" fmla="*/ 321482 h 1578457"/>
              <a:gd name="connsiteX25" fmla="*/ 6007811 w 9076830"/>
              <a:gd name="connsiteY25" fmla="*/ 594585 h 1578457"/>
              <a:gd name="connsiteX26" fmla="*/ 6564038 w 9076830"/>
              <a:gd name="connsiteY26" fmla="*/ 595054 h 1578457"/>
              <a:gd name="connsiteX27" fmla="*/ 6823881 w 9076830"/>
              <a:gd name="connsiteY27" fmla="*/ 249386 h 1578457"/>
              <a:gd name="connsiteX28" fmla="*/ 7063635 w 9076830"/>
              <a:gd name="connsiteY28" fmla="*/ 601743 h 1578457"/>
              <a:gd name="connsiteX29" fmla="*/ 7069705 w 9076830"/>
              <a:gd name="connsiteY29" fmla="*/ 1162692 h 1578457"/>
              <a:gd name="connsiteX30" fmla="*/ 7769688 w 9076830"/>
              <a:gd name="connsiteY30" fmla="*/ 1163101 h 1578457"/>
              <a:gd name="connsiteX31" fmla="*/ 7774539 w 9076830"/>
              <a:gd name="connsiteY31" fmla="*/ 476160 h 1578457"/>
              <a:gd name="connsiteX32" fmla="*/ 8083750 w 9076830"/>
              <a:gd name="connsiteY32" fmla="*/ 0 h 1578457"/>
              <a:gd name="connsiteX33" fmla="*/ 8417298 w 9076830"/>
              <a:gd name="connsiteY33" fmla="*/ 482919 h 1578457"/>
              <a:gd name="connsiteX34" fmla="*/ 8412037 w 9076830"/>
              <a:gd name="connsiteY34" fmla="*/ 1151659 h 1578457"/>
              <a:gd name="connsiteX35" fmla="*/ 8715083 w 9076830"/>
              <a:gd name="connsiteY35" fmla="*/ 1152762 h 1578457"/>
              <a:gd name="connsiteX36" fmla="*/ 8714508 w 9076830"/>
              <a:gd name="connsiteY36" fmla="*/ 477541 h 1578457"/>
              <a:gd name="connsiteX37" fmla="*/ 9076830 w 9076830"/>
              <a:gd name="connsiteY37" fmla="*/ 213951 h 157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076830" h="1578457">
                <a:moveTo>
                  <a:pt x="0" y="808945"/>
                </a:moveTo>
                <a:lnTo>
                  <a:pt x="530207" y="500563"/>
                </a:lnTo>
                <a:lnTo>
                  <a:pt x="1050878" y="768001"/>
                </a:lnTo>
                <a:cubicBezTo>
                  <a:pt x="1050878" y="1021335"/>
                  <a:pt x="1050879" y="1274668"/>
                  <a:pt x="1050879" y="1528002"/>
                </a:cubicBezTo>
                <a:lnTo>
                  <a:pt x="1255335" y="1519776"/>
                </a:lnTo>
                <a:cubicBezTo>
                  <a:pt x="1255421" y="1169101"/>
                  <a:pt x="1255508" y="818426"/>
                  <a:pt x="1255594" y="467751"/>
                </a:cubicBezTo>
                <a:lnTo>
                  <a:pt x="1528549" y="317625"/>
                </a:lnTo>
                <a:lnTo>
                  <a:pt x="1583141" y="481398"/>
                </a:lnTo>
                <a:lnTo>
                  <a:pt x="1869744" y="317625"/>
                </a:lnTo>
                <a:lnTo>
                  <a:pt x="1965278" y="454103"/>
                </a:lnTo>
                <a:lnTo>
                  <a:pt x="2210938" y="331273"/>
                </a:lnTo>
                <a:lnTo>
                  <a:pt x="2279176" y="481398"/>
                </a:lnTo>
                <a:lnTo>
                  <a:pt x="2284603" y="1560536"/>
                </a:lnTo>
                <a:lnTo>
                  <a:pt x="2790839" y="1556814"/>
                </a:lnTo>
                <a:cubicBezTo>
                  <a:pt x="2793156" y="1302975"/>
                  <a:pt x="2788781" y="1063703"/>
                  <a:pt x="2791098" y="809864"/>
                </a:cubicBezTo>
                <a:lnTo>
                  <a:pt x="2620370" y="808945"/>
                </a:lnTo>
                <a:lnTo>
                  <a:pt x="3193576" y="276682"/>
                </a:lnTo>
                <a:lnTo>
                  <a:pt x="3684896" y="764985"/>
                </a:lnTo>
                <a:lnTo>
                  <a:pt x="3493827" y="768001"/>
                </a:lnTo>
                <a:cubicBezTo>
                  <a:pt x="3494174" y="1038026"/>
                  <a:pt x="3494522" y="1308050"/>
                  <a:pt x="3494869" y="1578075"/>
                </a:cubicBezTo>
                <a:lnTo>
                  <a:pt x="4560408" y="1578457"/>
                </a:lnTo>
                <a:cubicBezTo>
                  <a:pt x="4559723" y="1229911"/>
                  <a:pt x="4559037" y="898183"/>
                  <a:pt x="4558352" y="549637"/>
                </a:cubicBezTo>
                <a:lnTo>
                  <a:pt x="5049672" y="167500"/>
                </a:lnTo>
                <a:lnTo>
                  <a:pt x="5513696" y="576933"/>
                </a:lnTo>
                <a:lnTo>
                  <a:pt x="5747927" y="321482"/>
                </a:lnTo>
                <a:lnTo>
                  <a:pt x="6007811" y="594585"/>
                </a:lnTo>
                <a:lnTo>
                  <a:pt x="6564038" y="595054"/>
                </a:lnTo>
                <a:lnTo>
                  <a:pt x="6823881" y="249386"/>
                </a:lnTo>
                <a:lnTo>
                  <a:pt x="7063635" y="601743"/>
                </a:lnTo>
                <a:cubicBezTo>
                  <a:pt x="7065658" y="788726"/>
                  <a:pt x="7067682" y="975709"/>
                  <a:pt x="7069705" y="1162692"/>
                </a:cubicBezTo>
                <a:lnTo>
                  <a:pt x="7769688" y="1163101"/>
                </a:lnTo>
                <a:lnTo>
                  <a:pt x="7774539" y="476160"/>
                </a:lnTo>
                <a:lnTo>
                  <a:pt x="8083750" y="0"/>
                </a:lnTo>
                <a:lnTo>
                  <a:pt x="8417298" y="482919"/>
                </a:lnTo>
                <a:cubicBezTo>
                  <a:pt x="8415544" y="705832"/>
                  <a:pt x="8413791" y="928746"/>
                  <a:pt x="8412037" y="1151659"/>
                </a:cubicBezTo>
                <a:lnTo>
                  <a:pt x="8715083" y="1152762"/>
                </a:lnTo>
                <a:cubicBezTo>
                  <a:pt x="8714891" y="927688"/>
                  <a:pt x="8714700" y="702615"/>
                  <a:pt x="8714508" y="477541"/>
                </a:cubicBezTo>
                <a:lnTo>
                  <a:pt x="9076830" y="213951"/>
                </a:lnTo>
              </a:path>
            </a:pathLst>
          </a:cu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25"/>
          </a:p>
        </p:txBody>
      </p:sp>
      <p:sp>
        <p:nvSpPr>
          <p:cNvPr id="5" name="Foliennummernplatzhalter 4"/>
          <p:cNvSpPr>
            <a:spLocks noGrp="1"/>
          </p:cNvSpPr>
          <p:nvPr>
            <p:ph type="sldNum" sz="quarter" idx="12"/>
          </p:nvPr>
        </p:nvSpPr>
        <p:spPr/>
        <p:txBody>
          <a:bodyPr/>
          <a:lstStyle/>
          <a:p>
            <a:fld id="{4AD1E780-DE1C-4ECA-B5E5-863D0BC53287}" type="slidenum">
              <a:rPr lang="de-DE" smtClean="0"/>
              <a:pPr/>
              <a:t>23</a:t>
            </a:fld>
            <a:endParaRPr lang="de-DE" dirty="0"/>
          </a:p>
        </p:txBody>
      </p:sp>
      <p:sp>
        <p:nvSpPr>
          <p:cNvPr id="9" name="Textplatzhalter 8"/>
          <p:cNvSpPr>
            <a:spLocks noGrp="1"/>
          </p:cNvSpPr>
          <p:nvPr>
            <p:ph type="body" sz="quarter" idx="13"/>
          </p:nvPr>
        </p:nvSpPr>
        <p:spPr>
          <a:xfrm>
            <a:off x="370861" y="315498"/>
            <a:ext cx="6279919" cy="523253"/>
          </a:xfrm>
        </p:spPr>
        <p:txBody>
          <a:bodyPr/>
          <a:lstStyle/>
          <a:p>
            <a:r>
              <a:rPr lang="en-US" dirty="0" smtClean="0"/>
              <a:t>Do we really think we can continue to do business </a:t>
            </a:r>
            <a:r>
              <a:rPr lang="en-US" dirty="0"/>
              <a:t>as </a:t>
            </a:r>
            <a:r>
              <a:rPr lang="en-US" dirty="0" smtClean="0"/>
              <a:t>usual?</a:t>
            </a:r>
            <a:endParaRPr lang="en-US" i="1" dirty="0"/>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2142" y="1995579"/>
            <a:ext cx="792956" cy="1643063"/>
          </a:xfrm>
          <a:prstGeom prst="rect">
            <a:avLst/>
          </a:prstGeom>
        </p:spPr>
      </p:pic>
      <p:pic>
        <p:nvPicPr>
          <p:cNvPr id="10" name="Grafik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71702" y="1203682"/>
            <a:ext cx="2390079" cy="3294098"/>
          </a:xfrm>
          <a:prstGeom prst="rect">
            <a:avLst/>
          </a:prstGeom>
        </p:spPr>
      </p:pic>
      <p:sp>
        <p:nvSpPr>
          <p:cNvPr id="12" name="Rechteck 11"/>
          <p:cNvSpPr/>
          <p:nvPr/>
        </p:nvSpPr>
        <p:spPr>
          <a:xfrm rot="351486">
            <a:off x="3328408" y="2447663"/>
            <a:ext cx="476666" cy="687413"/>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13" name="Rechteck 12"/>
          <p:cNvSpPr/>
          <p:nvPr/>
        </p:nvSpPr>
        <p:spPr>
          <a:xfrm rot="601968">
            <a:off x="3728831" y="2371156"/>
            <a:ext cx="454897" cy="69279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14" name="Rechteck 13"/>
          <p:cNvSpPr/>
          <p:nvPr/>
        </p:nvSpPr>
        <p:spPr>
          <a:xfrm>
            <a:off x="3336530" y="3002174"/>
            <a:ext cx="443044" cy="63646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16" name="Rechteck 15"/>
          <p:cNvSpPr/>
          <p:nvPr/>
        </p:nvSpPr>
        <p:spPr>
          <a:xfrm rot="2180298">
            <a:off x="3303893" y="3397675"/>
            <a:ext cx="306988" cy="49286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17" name="Rechteck 16"/>
          <p:cNvSpPr/>
          <p:nvPr/>
        </p:nvSpPr>
        <p:spPr>
          <a:xfrm rot="3356458">
            <a:off x="4110246" y="2466396"/>
            <a:ext cx="342352" cy="505069"/>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18" name="Rechteck 17"/>
          <p:cNvSpPr/>
          <p:nvPr/>
        </p:nvSpPr>
        <p:spPr>
          <a:xfrm rot="601968">
            <a:off x="3626081" y="2096221"/>
            <a:ext cx="306988" cy="492867"/>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19" name="Rechteck 18"/>
          <p:cNvSpPr/>
          <p:nvPr/>
        </p:nvSpPr>
        <p:spPr>
          <a:xfrm rot="3356458">
            <a:off x="3843472" y="1935519"/>
            <a:ext cx="230105" cy="356043"/>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20" name="Rechteck 19"/>
          <p:cNvSpPr/>
          <p:nvPr/>
        </p:nvSpPr>
        <p:spPr>
          <a:xfrm>
            <a:off x="3930119" y="1995579"/>
            <a:ext cx="335432" cy="51728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11" name="Rechteck 10"/>
          <p:cNvSpPr/>
          <p:nvPr/>
        </p:nvSpPr>
        <p:spPr>
          <a:xfrm rot="20809950">
            <a:off x="4238071" y="2812050"/>
            <a:ext cx="223816" cy="36604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21" name="Rechteck 20"/>
          <p:cNvSpPr/>
          <p:nvPr/>
        </p:nvSpPr>
        <p:spPr>
          <a:xfrm rot="21396890">
            <a:off x="3743078" y="2965060"/>
            <a:ext cx="374082" cy="553752"/>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22" name="Rechteck 21"/>
          <p:cNvSpPr/>
          <p:nvPr/>
        </p:nvSpPr>
        <p:spPr>
          <a:xfrm rot="21172736">
            <a:off x="3646882" y="3423611"/>
            <a:ext cx="476666" cy="687413"/>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23" name="Rechteck 22"/>
          <p:cNvSpPr/>
          <p:nvPr/>
        </p:nvSpPr>
        <p:spPr>
          <a:xfrm rot="3356458">
            <a:off x="3003185" y="3641789"/>
            <a:ext cx="302072" cy="469130"/>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24" name="Rechteck 23"/>
          <p:cNvSpPr/>
          <p:nvPr/>
        </p:nvSpPr>
        <p:spPr>
          <a:xfrm rot="2124204">
            <a:off x="2881474" y="3816655"/>
            <a:ext cx="335432" cy="517286"/>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25" name="Rechteck 24"/>
          <p:cNvSpPr/>
          <p:nvPr/>
        </p:nvSpPr>
        <p:spPr>
          <a:xfrm rot="18318876">
            <a:off x="4063293" y="3688633"/>
            <a:ext cx="384593" cy="538617"/>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26" name="Rechteck 25"/>
          <p:cNvSpPr/>
          <p:nvPr/>
        </p:nvSpPr>
        <p:spPr>
          <a:xfrm rot="3859760">
            <a:off x="3144430" y="2541346"/>
            <a:ext cx="230105" cy="356043"/>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Tree>
    <p:extLst>
      <p:ext uri="{BB962C8B-B14F-4D97-AF65-F5344CB8AC3E}">
        <p14:creationId xmlns:p14="http://schemas.microsoft.com/office/powerpoint/2010/main" val="14355225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repeatCount="indefinite" fill="hold" grpId="0" nodeType="afterEffect">
                                  <p:stCondLst>
                                    <p:cond delay="0"/>
                                  </p:stCondLst>
                                  <p:endCondLst>
                                    <p:cond evt="onNext" delay="0">
                                      <p:tgtEl>
                                        <p:sldTgt/>
                                      </p:tgtEl>
                                    </p:cond>
                                  </p:endCondLst>
                                  <p:childTnLst>
                                    <p:animRot by="120000">
                                      <p:cBhvr>
                                        <p:cTn id="6" dur="100" fill="hold">
                                          <p:stCondLst>
                                            <p:cond delay="0"/>
                                          </p:stCondLst>
                                        </p:cTn>
                                        <p:tgtEl>
                                          <p:spTgt spid="12"/>
                                        </p:tgtEl>
                                        <p:attrNameLst>
                                          <p:attrName>r</p:attrName>
                                        </p:attrNameLst>
                                      </p:cBhvr>
                                    </p:animRot>
                                    <p:animRot by="-240000">
                                      <p:cBhvr>
                                        <p:cTn id="7" dur="200" fill="hold">
                                          <p:stCondLst>
                                            <p:cond delay="200"/>
                                          </p:stCondLst>
                                        </p:cTn>
                                        <p:tgtEl>
                                          <p:spTgt spid="12"/>
                                        </p:tgtEl>
                                        <p:attrNameLst>
                                          <p:attrName>r</p:attrName>
                                        </p:attrNameLst>
                                      </p:cBhvr>
                                    </p:animRot>
                                    <p:animRot by="240000">
                                      <p:cBhvr>
                                        <p:cTn id="8" dur="200" fill="hold">
                                          <p:stCondLst>
                                            <p:cond delay="400"/>
                                          </p:stCondLst>
                                        </p:cTn>
                                        <p:tgtEl>
                                          <p:spTgt spid="12"/>
                                        </p:tgtEl>
                                        <p:attrNameLst>
                                          <p:attrName>r</p:attrName>
                                        </p:attrNameLst>
                                      </p:cBhvr>
                                    </p:animRot>
                                    <p:animRot by="-240000">
                                      <p:cBhvr>
                                        <p:cTn id="9" dur="200" fill="hold">
                                          <p:stCondLst>
                                            <p:cond delay="600"/>
                                          </p:stCondLst>
                                        </p:cTn>
                                        <p:tgtEl>
                                          <p:spTgt spid="12"/>
                                        </p:tgtEl>
                                        <p:attrNameLst>
                                          <p:attrName>r</p:attrName>
                                        </p:attrNameLst>
                                      </p:cBhvr>
                                    </p:animRot>
                                    <p:animRot by="120000">
                                      <p:cBhvr>
                                        <p:cTn id="10" dur="200" fill="hold">
                                          <p:stCondLst>
                                            <p:cond delay="800"/>
                                          </p:stCondLst>
                                        </p:cTn>
                                        <p:tgtEl>
                                          <p:spTgt spid="12"/>
                                        </p:tgtEl>
                                        <p:attrNameLst>
                                          <p:attrName>r</p:attrName>
                                        </p:attrNameLst>
                                      </p:cBhvr>
                                    </p:animRot>
                                  </p:childTnLst>
                                </p:cTn>
                              </p:par>
                              <p:par>
                                <p:cTn id="11" presetID="32" presetClass="emph" presetSubtype="0" repeatCount="indefinite" fill="hold" grpId="0" nodeType="withEffect">
                                  <p:stCondLst>
                                    <p:cond delay="0"/>
                                  </p:stCondLst>
                                  <p:endCondLst>
                                    <p:cond evt="onNext" delay="0">
                                      <p:tgtEl>
                                        <p:sldTgt/>
                                      </p:tgtEl>
                                    </p:cond>
                                  </p:endCondLst>
                                  <p:childTnLst>
                                    <p:animRot by="120000">
                                      <p:cBhvr>
                                        <p:cTn id="12" dur="100" fill="hold">
                                          <p:stCondLst>
                                            <p:cond delay="0"/>
                                          </p:stCondLst>
                                        </p:cTn>
                                        <p:tgtEl>
                                          <p:spTgt spid="13"/>
                                        </p:tgtEl>
                                        <p:attrNameLst>
                                          <p:attrName>r</p:attrName>
                                        </p:attrNameLst>
                                      </p:cBhvr>
                                    </p:animRot>
                                    <p:animRot by="-240000">
                                      <p:cBhvr>
                                        <p:cTn id="13" dur="200" fill="hold">
                                          <p:stCondLst>
                                            <p:cond delay="200"/>
                                          </p:stCondLst>
                                        </p:cTn>
                                        <p:tgtEl>
                                          <p:spTgt spid="13"/>
                                        </p:tgtEl>
                                        <p:attrNameLst>
                                          <p:attrName>r</p:attrName>
                                        </p:attrNameLst>
                                      </p:cBhvr>
                                    </p:animRot>
                                    <p:animRot by="240000">
                                      <p:cBhvr>
                                        <p:cTn id="14" dur="200" fill="hold">
                                          <p:stCondLst>
                                            <p:cond delay="400"/>
                                          </p:stCondLst>
                                        </p:cTn>
                                        <p:tgtEl>
                                          <p:spTgt spid="13"/>
                                        </p:tgtEl>
                                        <p:attrNameLst>
                                          <p:attrName>r</p:attrName>
                                        </p:attrNameLst>
                                      </p:cBhvr>
                                    </p:animRot>
                                    <p:animRot by="-240000">
                                      <p:cBhvr>
                                        <p:cTn id="15" dur="200" fill="hold">
                                          <p:stCondLst>
                                            <p:cond delay="600"/>
                                          </p:stCondLst>
                                        </p:cTn>
                                        <p:tgtEl>
                                          <p:spTgt spid="13"/>
                                        </p:tgtEl>
                                        <p:attrNameLst>
                                          <p:attrName>r</p:attrName>
                                        </p:attrNameLst>
                                      </p:cBhvr>
                                    </p:animRot>
                                    <p:animRot by="120000">
                                      <p:cBhvr>
                                        <p:cTn id="16" dur="200" fill="hold">
                                          <p:stCondLst>
                                            <p:cond delay="800"/>
                                          </p:stCondLst>
                                        </p:cTn>
                                        <p:tgtEl>
                                          <p:spTgt spid="13"/>
                                        </p:tgtEl>
                                        <p:attrNameLst>
                                          <p:attrName>r</p:attrName>
                                        </p:attrNameLst>
                                      </p:cBhvr>
                                    </p:animRot>
                                  </p:childTnLst>
                                </p:cTn>
                              </p:par>
                              <p:par>
                                <p:cTn id="17" presetID="32" presetClass="emph" presetSubtype="0" repeatCount="indefinite" fill="hold" grpId="0" nodeType="withEffect">
                                  <p:stCondLst>
                                    <p:cond delay="0"/>
                                  </p:stCondLst>
                                  <p:endCondLst>
                                    <p:cond evt="onNext" delay="0">
                                      <p:tgtEl>
                                        <p:sldTgt/>
                                      </p:tgtEl>
                                    </p:cond>
                                  </p:endCondLst>
                                  <p:childTnLst>
                                    <p:animRot by="120000">
                                      <p:cBhvr>
                                        <p:cTn id="18" dur="100" fill="hold">
                                          <p:stCondLst>
                                            <p:cond delay="0"/>
                                          </p:stCondLst>
                                        </p:cTn>
                                        <p:tgtEl>
                                          <p:spTgt spid="14"/>
                                        </p:tgtEl>
                                        <p:attrNameLst>
                                          <p:attrName>r</p:attrName>
                                        </p:attrNameLst>
                                      </p:cBhvr>
                                    </p:animRot>
                                    <p:animRot by="-240000">
                                      <p:cBhvr>
                                        <p:cTn id="19" dur="200" fill="hold">
                                          <p:stCondLst>
                                            <p:cond delay="200"/>
                                          </p:stCondLst>
                                        </p:cTn>
                                        <p:tgtEl>
                                          <p:spTgt spid="14"/>
                                        </p:tgtEl>
                                        <p:attrNameLst>
                                          <p:attrName>r</p:attrName>
                                        </p:attrNameLst>
                                      </p:cBhvr>
                                    </p:animRot>
                                    <p:animRot by="240000">
                                      <p:cBhvr>
                                        <p:cTn id="20" dur="200" fill="hold">
                                          <p:stCondLst>
                                            <p:cond delay="400"/>
                                          </p:stCondLst>
                                        </p:cTn>
                                        <p:tgtEl>
                                          <p:spTgt spid="14"/>
                                        </p:tgtEl>
                                        <p:attrNameLst>
                                          <p:attrName>r</p:attrName>
                                        </p:attrNameLst>
                                      </p:cBhvr>
                                    </p:animRot>
                                    <p:animRot by="-240000">
                                      <p:cBhvr>
                                        <p:cTn id="21" dur="200" fill="hold">
                                          <p:stCondLst>
                                            <p:cond delay="600"/>
                                          </p:stCondLst>
                                        </p:cTn>
                                        <p:tgtEl>
                                          <p:spTgt spid="14"/>
                                        </p:tgtEl>
                                        <p:attrNameLst>
                                          <p:attrName>r</p:attrName>
                                        </p:attrNameLst>
                                      </p:cBhvr>
                                    </p:animRot>
                                    <p:animRot by="120000">
                                      <p:cBhvr>
                                        <p:cTn id="22" dur="200" fill="hold">
                                          <p:stCondLst>
                                            <p:cond delay="800"/>
                                          </p:stCondLst>
                                        </p:cTn>
                                        <p:tgtEl>
                                          <p:spTgt spid="14"/>
                                        </p:tgtEl>
                                        <p:attrNameLst>
                                          <p:attrName>r</p:attrName>
                                        </p:attrNameLst>
                                      </p:cBhvr>
                                    </p:animRot>
                                  </p:childTnLst>
                                </p:cTn>
                              </p:par>
                              <p:par>
                                <p:cTn id="23" presetID="32" presetClass="emph" presetSubtype="0" repeatCount="indefinite" fill="hold" grpId="0" nodeType="withEffect">
                                  <p:stCondLst>
                                    <p:cond delay="0"/>
                                  </p:stCondLst>
                                  <p:endCondLst>
                                    <p:cond evt="onNext" delay="0">
                                      <p:tgtEl>
                                        <p:sldTgt/>
                                      </p:tgtEl>
                                    </p:cond>
                                  </p:endCondLst>
                                  <p:childTnLst>
                                    <p:animRot by="120000">
                                      <p:cBhvr>
                                        <p:cTn id="24" dur="100" fill="hold">
                                          <p:stCondLst>
                                            <p:cond delay="0"/>
                                          </p:stCondLst>
                                        </p:cTn>
                                        <p:tgtEl>
                                          <p:spTgt spid="16"/>
                                        </p:tgtEl>
                                        <p:attrNameLst>
                                          <p:attrName>r</p:attrName>
                                        </p:attrNameLst>
                                      </p:cBhvr>
                                    </p:animRot>
                                    <p:animRot by="-240000">
                                      <p:cBhvr>
                                        <p:cTn id="25" dur="200" fill="hold">
                                          <p:stCondLst>
                                            <p:cond delay="200"/>
                                          </p:stCondLst>
                                        </p:cTn>
                                        <p:tgtEl>
                                          <p:spTgt spid="16"/>
                                        </p:tgtEl>
                                        <p:attrNameLst>
                                          <p:attrName>r</p:attrName>
                                        </p:attrNameLst>
                                      </p:cBhvr>
                                    </p:animRot>
                                    <p:animRot by="240000">
                                      <p:cBhvr>
                                        <p:cTn id="26" dur="200" fill="hold">
                                          <p:stCondLst>
                                            <p:cond delay="400"/>
                                          </p:stCondLst>
                                        </p:cTn>
                                        <p:tgtEl>
                                          <p:spTgt spid="16"/>
                                        </p:tgtEl>
                                        <p:attrNameLst>
                                          <p:attrName>r</p:attrName>
                                        </p:attrNameLst>
                                      </p:cBhvr>
                                    </p:animRot>
                                    <p:animRot by="-240000">
                                      <p:cBhvr>
                                        <p:cTn id="27" dur="200" fill="hold">
                                          <p:stCondLst>
                                            <p:cond delay="600"/>
                                          </p:stCondLst>
                                        </p:cTn>
                                        <p:tgtEl>
                                          <p:spTgt spid="16"/>
                                        </p:tgtEl>
                                        <p:attrNameLst>
                                          <p:attrName>r</p:attrName>
                                        </p:attrNameLst>
                                      </p:cBhvr>
                                    </p:animRot>
                                    <p:animRot by="120000">
                                      <p:cBhvr>
                                        <p:cTn id="28" dur="200" fill="hold">
                                          <p:stCondLst>
                                            <p:cond delay="800"/>
                                          </p:stCondLst>
                                        </p:cTn>
                                        <p:tgtEl>
                                          <p:spTgt spid="16"/>
                                        </p:tgtEl>
                                        <p:attrNameLst>
                                          <p:attrName>r</p:attrName>
                                        </p:attrNameLst>
                                      </p:cBhvr>
                                    </p:animRot>
                                  </p:childTnLst>
                                </p:cTn>
                              </p:par>
                              <p:par>
                                <p:cTn id="29" presetID="32" presetClass="emph" presetSubtype="0" repeatCount="indefinite" fill="hold" grpId="0" nodeType="withEffect">
                                  <p:stCondLst>
                                    <p:cond delay="0"/>
                                  </p:stCondLst>
                                  <p:endCondLst>
                                    <p:cond evt="onNext" delay="0">
                                      <p:tgtEl>
                                        <p:sldTgt/>
                                      </p:tgtEl>
                                    </p:cond>
                                  </p:endCondLst>
                                  <p:childTnLst>
                                    <p:animRot by="120000">
                                      <p:cBhvr>
                                        <p:cTn id="30" dur="100" fill="hold">
                                          <p:stCondLst>
                                            <p:cond delay="0"/>
                                          </p:stCondLst>
                                        </p:cTn>
                                        <p:tgtEl>
                                          <p:spTgt spid="17"/>
                                        </p:tgtEl>
                                        <p:attrNameLst>
                                          <p:attrName>r</p:attrName>
                                        </p:attrNameLst>
                                      </p:cBhvr>
                                    </p:animRot>
                                    <p:animRot by="-240000">
                                      <p:cBhvr>
                                        <p:cTn id="31" dur="200" fill="hold">
                                          <p:stCondLst>
                                            <p:cond delay="200"/>
                                          </p:stCondLst>
                                        </p:cTn>
                                        <p:tgtEl>
                                          <p:spTgt spid="17"/>
                                        </p:tgtEl>
                                        <p:attrNameLst>
                                          <p:attrName>r</p:attrName>
                                        </p:attrNameLst>
                                      </p:cBhvr>
                                    </p:animRot>
                                    <p:animRot by="240000">
                                      <p:cBhvr>
                                        <p:cTn id="32" dur="200" fill="hold">
                                          <p:stCondLst>
                                            <p:cond delay="400"/>
                                          </p:stCondLst>
                                        </p:cTn>
                                        <p:tgtEl>
                                          <p:spTgt spid="17"/>
                                        </p:tgtEl>
                                        <p:attrNameLst>
                                          <p:attrName>r</p:attrName>
                                        </p:attrNameLst>
                                      </p:cBhvr>
                                    </p:animRot>
                                    <p:animRot by="-240000">
                                      <p:cBhvr>
                                        <p:cTn id="33" dur="200" fill="hold">
                                          <p:stCondLst>
                                            <p:cond delay="600"/>
                                          </p:stCondLst>
                                        </p:cTn>
                                        <p:tgtEl>
                                          <p:spTgt spid="17"/>
                                        </p:tgtEl>
                                        <p:attrNameLst>
                                          <p:attrName>r</p:attrName>
                                        </p:attrNameLst>
                                      </p:cBhvr>
                                    </p:animRot>
                                    <p:animRot by="120000">
                                      <p:cBhvr>
                                        <p:cTn id="34" dur="200" fill="hold">
                                          <p:stCondLst>
                                            <p:cond delay="800"/>
                                          </p:stCondLst>
                                        </p:cTn>
                                        <p:tgtEl>
                                          <p:spTgt spid="17"/>
                                        </p:tgtEl>
                                        <p:attrNameLst>
                                          <p:attrName>r</p:attrName>
                                        </p:attrNameLst>
                                      </p:cBhvr>
                                    </p:animRot>
                                  </p:childTnLst>
                                </p:cTn>
                              </p:par>
                              <p:par>
                                <p:cTn id="35" presetID="32" presetClass="emph" presetSubtype="0" repeatCount="indefinite" fill="hold" grpId="0" nodeType="withEffect">
                                  <p:stCondLst>
                                    <p:cond delay="0"/>
                                  </p:stCondLst>
                                  <p:endCondLst>
                                    <p:cond evt="onNext" delay="0">
                                      <p:tgtEl>
                                        <p:sldTgt/>
                                      </p:tgtEl>
                                    </p:cond>
                                  </p:endCondLst>
                                  <p:childTnLst>
                                    <p:animRot by="120000">
                                      <p:cBhvr>
                                        <p:cTn id="36" dur="100" fill="hold">
                                          <p:stCondLst>
                                            <p:cond delay="0"/>
                                          </p:stCondLst>
                                        </p:cTn>
                                        <p:tgtEl>
                                          <p:spTgt spid="18"/>
                                        </p:tgtEl>
                                        <p:attrNameLst>
                                          <p:attrName>r</p:attrName>
                                        </p:attrNameLst>
                                      </p:cBhvr>
                                    </p:animRot>
                                    <p:animRot by="-240000">
                                      <p:cBhvr>
                                        <p:cTn id="37" dur="200" fill="hold">
                                          <p:stCondLst>
                                            <p:cond delay="200"/>
                                          </p:stCondLst>
                                        </p:cTn>
                                        <p:tgtEl>
                                          <p:spTgt spid="18"/>
                                        </p:tgtEl>
                                        <p:attrNameLst>
                                          <p:attrName>r</p:attrName>
                                        </p:attrNameLst>
                                      </p:cBhvr>
                                    </p:animRot>
                                    <p:animRot by="240000">
                                      <p:cBhvr>
                                        <p:cTn id="38" dur="200" fill="hold">
                                          <p:stCondLst>
                                            <p:cond delay="400"/>
                                          </p:stCondLst>
                                        </p:cTn>
                                        <p:tgtEl>
                                          <p:spTgt spid="18"/>
                                        </p:tgtEl>
                                        <p:attrNameLst>
                                          <p:attrName>r</p:attrName>
                                        </p:attrNameLst>
                                      </p:cBhvr>
                                    </p:animRot>
                                    <p:animRot by="-240000">
                                      <p:cBhvr>
                                        <p:cTn id="39" dur="200" fill="hold">
                                          <p:stCondLst>
                                            <p:cond delay="600"/>
                                          </p:stCondLst>
                                        </p:cTn>
                                        <p:tgtEl>
                                          <p:spTgt spid="18"/>
                                        </p:tgtEl>
                                        <p:attrNameLst>
                                          <p:attrName>r</p:attrName>
                                        </p:attrNameLst>
                                      </p:cBhvr>
                                    </p:animRot>
                                    <p:animRot by="120000">
                                      <p:cBhvr>
                                        <p:cTn id="40" dur="200" fill="hold">
                                          <p:stCondLst>
                                            <p:cond delay="800"/>
                                          </p:stCondLst>
                                        </p:cTn>
                                        <p:tgtEl>
                                          <p:spTgt spid="18"/>
                                        </p:tgtEl>
                                        <p:attrNameLst>
                                          <p:attrName>r</p:attrName>
                                        </p:attrNameLst>
                                      </p:cBhvr>
                                    </p:animRot>
                                  </p:childTnLst>
                                </p:cTn>
                              </p:par>
                              <p:par>
                                <p:cTn id="41" presetID="32" presetClass="emph" presetSubtype="0" repeatCount="indefinite" fill="hold" grpId="0" nodeType="withEffect">
                                  <p:stCondLst>
                                    <p:cond delay="0"/>
                                  </p:stCondLst>
                                  <p:endCondLst>
                                    <p:cond evt="onNext" delay="0">
                                      <p:tgtEl>
                                        <p:sldTgt/>
                                      </p:tgtEl>
                                    </p:cond>
                                  </p:endCondLst>
                                  <p:childTnLst>
                                    <p:animRot by="120000">
                                      <p:cBhvr>
                                        <p:cTn id="42" dur="100" fill="hold">
                                          <p:stCondLst>
                                            <p:cond delay="0"/>
                                          </p:stCondLst>
                                        </p:cTn>
                                        <p:tgtEl>
                                          <p:spTgt spid="19"/>
                                        </p:tgtEl>
                                        <p:attrNameLst>
                                          <p:attrName>r</p:attrName>
                                        </p:attrNameLst>
                                      </p:cBhvr>
                                    </p:animRot>
                                    <p:animRot by="-240000">
                                      <p:cBhvr>
                                        <p:cTn id="43" dur="200" fill="hold">
                                          <p:stCondLst>
                                            <p:cond delay="200"/>
                                          </p:stCondLst>
                                        </p:cTn>
                                        <p:tgtEl>
                                          <p:spTgt spid="19"/>
                                        </p:tgtEl>
                                        <p:attrNameLst>
                                          <p:attrName>r</p:attrName>
                                        </p:attrNameLst>
                                      </p:cBhvr>
                                    </p:animRot>
                                    <p:animRot by="240000">
                                      <p:cBhvr>
                                        <p:cTn id="44" dur="200" fill="hold">
                                          <p:stCondLst>
                                            <p:cond delay="400"/>
                                          </p:stCondLst>
                                        </p:cTn>
                                        <p:tgtEl>
                                          <p:spTgt spid="19"/>
                                        </p:tgtEl>
                                        <p:attrNameLst>
                                          <p:attrName>r</p:attrName>
                                        </p:attrNameLst>
                                      </p:cBhvr>
                                    </p:animRot>
                                    <p:animRot by="-240000">
                                      <p:cBhvr>
                                        <p:cTn id="45" dur="200" fill="hold">
                                          <p:stCondLst>
                                            <p:cond delay="600"/>
                                          </p:stCondLst>
                                        </p:cTn>
                                        <p:tgtEl>
                                          <p:spTgt spid="19"/>
                                        </p:tgtEl>
                                        <p:attrNameLst>
                                          <p:attrName>r</p:attrName>
                                        </p:attrNameLst>
                                      </p:cBhvr>
                                    </p:animRot>
                                    <p:animRot by="120000">
                                      <p:cBhvr>
                                        <p:cTn id="46" dur="200" fill="hold">
                                          <p:stCondLst>
                                            <p:cond delay="800"/>
                                          </p:stCondLst>
                                        </p:cTn>
                                        <p:tgtEl>
                                          <p:spTgt spid="19"/>
                                        </p:tgtEl>
                                        <p:attrNameLst>
                                          <p:attrName>r</p:attrName>
                                        </p:attrNameLst>
                                      </p:cBhvr>
                                    </p:animRot>
                                  </p:childTnLst>
                                </p:cTn>
                              </p:par>
                              <p:par>
                                <p:cTn id="47" presetID="32" presetClass="emph" presetSubtype="0" repeatCount="indefinite" fill="hold" grpId="0" nodeType="withEffect">
                                  <p:stCondLst>
                                    <p:cond delay="0"/>
                                  </p:stCondLst>
                                  <p:endCondLst>
                                    <p:cond evt="onNext" delay="0">
                                      <p:tgtEl>
                                        <p:sldTgt/>
                                      </p:tgtEl>
                                    </p:cond>
                                  </p:endCondLst>
                                  <p:childTnLst>
                                    <p:animRot by="120000">
                                      <p:cBhvr>
                                        <p:cTn id="48" dur="100" fill="hold">
                                          <p:stCondLst>
                                            <p:cond delay="0"/>
                                          </p:stCondLst>
                                        </p:cTn>
                                        <p:tgtEl>
                                          <p:spTgt spid="20"/>
                                        </p:tgtEl>
                                        <p:attrNameLst>
                                          <p:attrName>r</p:attrName>
                                        </p:attrNameLst>
                                      </p:cBhvr>
                                    </p:animRot>
                                    <p:animRot by="-240000">
                                      <p:cBhvr>
                                        <p:cTn id="49" dur="200" fill="hold">
                                          <p:stCondLst>
                                            <p:cond delay="200"/>
                                          </p:stCondLst>
                                        </p:cTn>
                                        <p:tgtEl>
                                          <p:spTgt spid="20"/>
                                        </p:tgtEl>
                                        <p:attrNameLst>
                                          <p:attrName>r</p:attrName>
                                        </p:attrNameLst>
                                      </p:cBhvr>
                                    </p:animRot>
                                    <p:animRot by="240000">
                                      <p:cBhvr>
                                        <p:cTn id="50" dur="200" fill="hold">
                                          <p:stCondLst>
                                            <p:cond delay="400"/>
                                          </p:stCondLst>
                                        </p:cTn>
                                        <p:tgtEl>
                                          <p:spTgt spid="20"/>
                                        </p:tgtEl>
                                        <p:attrNameLst>
                                          <p:attrName>r</p:attrName>
                                        </p:attrNameLst>
                                      </p:cBhvr>
                                    </p:animRot>
                                    <p:animRot by="-240000">
                                      <p:cBhvr>
                                        <p:cTn id="51" dur="200" fill="hold">
                                          <p:stCondLst>
                                            <p:cond delay="600"/>
                                          </p:stCondLst>
                                        </p:cTn>
                                        <p:tgtEl>
                                          <p:spTgt spid="20"/>
                                        </p:tgtEl>
                                        <p:attrNameLst>
                                          <p:attrName>r</p:attrName>
                                        </p:attrNameLst>
                                      </p:cBhvr>
                                    </p:animRot>
                                    <p:animRot by="120000">
                                      <p:cBhvr>
                                        <p:cTn id="52" dur="200" fill="hold">
                                          <p:stCondLst>
                                            <p:cond delay="800"/>
                                          </p:stCondLst>
                                        </p:cTn>
                                        <p:tgtEl>
                                          <p:spTgt spid="20"/>
                                        </p:tgtEl>
                                        <p:attrNameLst>
                                          <p:attrName>r</p:attrName>
                                        </p:attrNameLst>
                                      </p:cBhvr>
                                    </p:animRot>
                                  </p:childTnLst>
                                </p:cTn>
                              </p:par>
                              <p:par>
                                <p:cTn id="53" presetID="32" presetClass="emph" presetSubtype="0" repeatCount="indefinite" fill="hold" grpId="0" nodeType="withEffect">
                                  <p:stCondLst>
                                    <p:cond delay="0"/>
                                  </p:stCondLst>
                                  <p:endCondLst>
                                    <p:cond evt="onNext" delay="0">
                                      <p:tgtEl>
                                        <p:sldTgt/>
                                      </p:tgtEl>
                                    </p:cond>
                                  </p:endCondLst>
                                  <p:childTnLst>
                                    <p:animRot by="120000">
                                      <p:cBhvr>
                                        <p:cTn id="54" dur="100" fill="hold">
                                          <p:stCondLst>
                                            <p:cond delay="0"/>
                                          </p:stCondLst>
                                        </p:cTn>
                                        <p:tgtEl>
                                          <p:spTgt spid="11"/>
                                        </p:tgtEl>
                                        <p:attrNameLst>
                                          <p:attrName>r</p:attrName>
                                        </p:attrNameLst>
                                      </p:cBhvr>
                                    </p:animRot>
                                    <p:animRot by="-240000">
                                      <p:cBhvr>
                                        <p:cTn id="55" dur="200" fill="hold">
                                          <p:stCondLst>
                                            <p:cond delay="200"/>
                                          </p:stCondLst>
                                        </p:cTn>
                                        <p:tgtEl>
                                          <p:spTgt spid="11"/>
                                        </p:tgtEl>
                                        <p:attrNameLst>
                                          <p:attrName>r</p:attrName>
                                        </p:attrNameLst>
                                      </p:cBhvr>
                                    </p:animRot>
                                    <p:animRot by="240000">
                                      <p:cBhvr>
                                        <p:cTn id="56" dur="200" fill="hold">
                                          <p:stCondLst>
                                            <p:cond delay="400"/>
                                          </p:stCondLst>
                                        </p:cTn>
                                        <p:tgtEl>
                                          <p:spTgt spid="11"/>
                                        </p:tgtEl>
                                        <p:attrNameLst>
                                          <p:attrName>r</p:attrName>
                                        </p:attrNameLst>
                                      </p:cBhvr>
                                    </p:animRot>
                                    <p:animRot by="-240000">
                                      <p:cBhvr>
                                        <p:cTn id="57" dur="200" fill="hold">
                                          <p:stCondLst>
                                            <p:cond delay="600"/>
                                          </p:stCondLst>
                                        </p:cTn>
                                        <p:tgtEl>
                                          <p:spTgt spid="11"/>
                                        </p:tgtEl>
                                        <p:attrNameLst>
                                          <p:attrName>r</p:attrName>
                                        </p:attrNameLst>
                                      </p:cBhvr>
                                    </p:animRot>
                                    <p:animRot by="120000">
                                      <p:cBhvr>
                                        <p:cTn id="58" dur="200" fill="hold">
                                          <p:stCondLst>
                                            <p:cond delay="800"/>
                                          </p:stCondLst>
                                        </p:cTn>
                                        <p:tgtEl>
                                          <p:spTgt spid="11"/>
                                        </p:tgtEl>
                                        <p:attrNameLst>
                                          <p:attrName>r</p:attrName>
                                        </p:attrNameLst>
                                      </p:cBhvr>
                                    </p:animRot>
                                  </p:childTnLst>
                                </p:cTn>
                              </p:par>
                              <p:par>
                                <p:cTn id="59" presetID="32" presetClass="emph" presetSubtype="0" repeatCount="indefinite" fill="hold" grpId="0" nodeType="withEffect">
                                  <p:stCondLst>
                                    <p:cond delay="0"/>
                                  </p:stCondLst>
                                  <p:endCondLst>
                                    <p:cond evt="onNext" delay="0">
                                      <p:tgtEl>
                                        <p:sldTgt/>
                                      </p:tgtEl>
                                    </p:cond>
                                  </p:endCondLst>
                                  <p:childTnLst>
                                    <p:animRot by="120000">
                                      <p:cBhvr>
                                        <p:cTn id="60" dur="100" fill="hold">
                                          <p:stCondLst>
                                            <p:cond delay="0"/>
                                          </p:stCondLst>
                                        </p:cTn>
                                        <p:tgtEl>
                                          <p:spTgt spid="21"/>
                                        </p:tgtEl>
                                        <p:attrNameLst>
                                          <p:attrName>r</p:attrName>
                                        </p:attrNameLst>
                                      </p:cBhvr>
                                    </p:animRot>
                                    <p:animRot by="-240000">
                                      <p:cBhvr>
                                        <p:cTn id="61" dur="200" fill="hold">
                                          <p:stCondLst>
                                            <p:cond delay="200"/>
                                          </p:stCondLst>
                                        </p:cTn>
                                        <p:tgtEl>
                                          <p:spTgt spid="21"/>
                                        </p:tgtEl>
                                        <p:attrNameLst>
                                          <p:attrName>r</p:attrName>
                                        </p:attrNameLst>
                                      </p:cBhvr>
                                    </p:animRot>
                                    <p:animRot by="240000">
                                      <p:cBhvr>
                                        <p:cTn id="62" dur="200" fill="hold">
                                          <p:stCondLst>
                                            <p:cond delay="400"/>
                                          </p:stCondLst>
                                        </p:cTn>
                                        <p:tgtEl>
                                          <p:spTgt spid="21"/>
                                        </p:tgtEl>
                                        <p:attrNameLst>
                                          <p:attrName>r</p:attrName>
                                        </p:attrNameLst>
                                      </p:cBhvr>
                                    </p:animRot>
                                    <p:animRot by="-240000">
                                      <p:cBhvr>
                                        <p:cTn id="63" dur="200" fill="hold">
                                          <p:stCondLst>
                                            <p:cond delay="600"/>
                                          </p:stCondLst>
                                        </p:cTn>
                                        <p:tgtEl>
                                          <p:spTgt spid="21"/>
                                        </p:tgtEl>
                                        <p:attrNameLst>
                                          <p:attrName>r</p:attrName>
                                        </p:attrNameLst>
                                      </p:cBhvr>
                                    </p:animRot>
                                    <p:animRot by="120000">
                                      <p:cBhvr>
                                        <p:cTn id="64" dur="200" fill="hold">
                                          <p:stCondLst>
                                            <p:cond delay="800"/>
                                          </p:stCondLst>
                                        </p:cTn>
                                        <p:tgtEl>
                                          <p:spTgt spid="21"/>
                                        </p:tgtEl>
                                        <p:attrNameLst>
                                          <p:attrName>r</p:attrName>
                                        </p:attrNameLst>
                                      </p:cBhvr>
                                    </p:animRot>
                                  </p:childTnLst>
                                </p:cTn>
                              </p:par>
                              <p:par>
                                <p:cTn id="65" presetID="32" presetClass="emph" presetSubtype="0" repeatCount="indefinite" fill="hold" grpId="0" nodeType="withEffect">
                                  <p:stCondLst>
                                    <p:cond delay="0"/>
                                  </p:stCondLst>
                                  <p:endCondLst>
                                    <p:cond evt="onNext" delay="0">
                                      <p:tgtEl>
                                        <p:sldTgt/>
                                      </p:tgtEl>
                                    </p:cond>
                                  </p:endCondLst>
                                  <p:childTnLst>
                                    <p:animRot by="120000">
                                      <p:cBhvr>
                                        <p:cTn id="66" dur="100" fill="hold">
                                          <p:stCondLst>
                                            <p:cond delay="0"/>
                                          </p:stCondLst>
                                        </p:cTn>
                                        <p:tgtEl>
                                          <p:spTgt spid="22"/>
                                        </p:tgtEl>
                                        <p:attrNameLst>
                                          <p:attrName>r</p:attrName>
                                        </p:attrNameLst>
                                      </p:cBhvr>
                                    </p:animRot>
                                    <p:animRot by="-240000">
                                      <p:cBhvr>
                                        <p:cTn id="67" dur="200" fill="hold">
                                          <p:stCondLst>
                                            <p:cond delay="200"/>
                                          </p:stCondLst>
                                        </p:cTn>
                                        <p:tgtEl>
                                          <p:spTgt spid="22"/>
                                        </p:tgtEl>
                                        <p:attrNameLst>
                                          <p:attrName>r</p:attrName>
                                        </p:attrNameLst>
                                      </p:cBhvr>
                                    </p:animRot>
                                    <p:animRot by="240000">
                                      <p:cBhvr>
                                        <p:cTn id="68" dur="200" fill="hold">
                                          <p:stCondLst>
                                            <p:cond delay="400"/>
                                          </p:stCondLst>
                                        </p:cTn>
                                        <p:tgtEl>
                                          <p:spTgt spid="22"/>
                                        </p:tgtEl>
                                        <p:attrNameLst>
                                          <p:attrName>r</p:attrName>
                                        </p:attrNameLst>
                                      </p:cBhvr>
                                    </p:animRot>
                                    <p:animRot by="-240000">
                                      <p:cBhvr>
                                        <p:cTn id="69" dur="200" fill="hold">
                                          <p:stCondLst>
                                            <p:cond delay="600"/>
                                          </p:stCondLst>
                                        </p:cTn>
                                        <p:tgtEl>
                                          <p:spTgt spid="22"/>
                                        </p:tgtEl>
                                        <p:attrNameLst>
                                          <p:attrName>r</p:attrName>
                                        </p:attrNameLst>
                                      </p:cBhvr>
                                    </p:animRot>
                                    <p:animRot by="120000">
                                      <p:cBhvr>
                                        <p:cTn id="70" dur="200" fill="hold">
                                          <p:stCondLst>
                                            <p:cond delay="800"/>
                                          </p:stCondLst>
                                        </p:cTn>
                                        <p:tgtEl>
                                          <p:spTgt spid="22"/>
                                        </p:tgtEl>
                                        <p:attrNameLst>
                                          <p:attrName>r</p:attrName>
                                        </p:attrNameLst>
                                      </p:cBhvr>
                                    </p:animRot>
                                  </p:childTnLst>
                                </p:cTn>
                              </p:par>
                              <p:par>
                                <p:cTn id="71" presetID="32" presetClass="emph" presetSubtype="0" repeatCount="indefinite" fill="hold" grpId="0" nodeType="withEffect">
                                  <p:stCondLst>
                                    <p:cond delay="0"/>
                                  </p:stCondLst>
                                  <p:endCondLst>
                                    <p:cond evt="onNext" delay="0">
                                      <p:tgtEl>
                                        <p:sldTgt/>
                                      </p:tgtEl>
                                    </p:cond>
                                  </p:endCondLst>
                                  <p:childTnLst>
                                    <p:animRot by="120000">
                                      <p:cBhvr>
                                        <p:cTn id="72" dur="100" fill="hold">
                                          <p:stCondLst>
                                            <p:cond delay="0"/>
                                          </p:stCondLst>
                                        </p:cTn>
                                        <p:tgtEl>
                                          <p:spTgt spid="23"/>
                                        </p:tgtEl>
                                        <p:attrNameLst>
                                          <p:attrName>r</p:attrName>
                                        </p:attrNameLst>
                                      </p:cBhvr>
                                    </p:animRot>
                                    <p:animRot by="-240000">
                                      <p:cBhvr>
                                        <p:cTn id="73" dur="200" fill="hold">
                                          <p:stCondLst>
                                            <p:cond delay="200"/>
                                          </p:stCondLst>
                                        </p:cTn>
                                        <p:tgtEl>
                                          <p:spTgt spid="23"/>
                                        </p:tgtEl>
                                        <p:attrNameLst>
                                          <p:attrName>r</p:attrName>
                                        </p:attrNameLst>
                                      </p:cBhvr>
                                    </p:animRot>
                                    <p:animRot by="240000">
                                      <p:cBhvr>
                                        <p:cTn id="74" dur="200" fill="hold">
                                          <p:stCondLst>
                                            <p:cond delay="400"/>
                                          </p:stCondLst>
                                        </p:cTn>
                                        <p:tgtEl>
                                          <p:spTgt spid="23"/>
                                        </p:tgtEl>
                                        <p:attrNameLst>
                                          <p:attrName>r</p:attrName>
                                        </p:attrNameLst>
                                      </p:cBhvr>
                                    </p:animRot>
                                    <p:animRot by="-240000">
                                      <p:cBhvr>
                                        <p:cTn id="75" dur="200" fill="hold">
                                          <p:stCondLst>
                                            <p:cond delay="600"/>
                                          </p:stCondLst>
                                        </p:cTn>
                                        <p:tgtEl>
                                          <p:spTgt spid="23"/>
                                        </p:tgtEl>
                                        <p:attrNameLst>
                                          <p:attrName>r</p:attrName>
                                        </p:attrNameLst>
                                      </p:cBhvr>
                                    </p:animRot>
                                    <p:animRot by="120000">
                                      <p:cBhvr>
                                        <p:cTn id="76" dur="200" fill="hold">
                                          <p:stCondLst>
                                            <p:cond delay="800"/>
                                          </p:stCondLst>
                                        </p:cTn>
                                        <p:tgtEl>
                                          <p:spTgt spid="23"/>
                                        </p:tgtEl>
                                        <p:attrNameLst>
                                          <p:attrName>r</p:attrName>
                                        </p:attrNameLst>
                                      </p:cBhvr>
                                    </p:animRot>
                                  </p:childTnLst>
                                </p:cTn>
                              </p:par>
                              <p:par>
                                <p:cTn id="77" presetID="32" presetClass="emph" presetSubtype="0" repeatCount="indefinite" fill="hold" grpId="0" nodeType="withEffect">
                                  <p:stCondLst>
                                    <p:cond delay="0"/>
                                  </p:stCondLst>
                                  <p:endCondLst>
                                    <p:cond evt="onNext" delay="0">
                                      <p:tgtEl>
                                        <p:sldTgt/>
                                      </p:tgtEl>
                                    </p:cond>
                                  </p:endCondLst>
                                  <p:childTnLst>
                                    <p:animRot by="120000">
                                      <p:cBhvr>
                                        <p:cTn id="78" dur="100" fill="hold">
                                          <p:stCondLst>
                                            <p:cond delay="0"/>
                                          </p:stCondLst>
                                        </p:cTn>
                                        <p:tgtEl>
                                          <p:spTgt spid="24"/>
                                        </p:tgtEl>
                                        <p:attrNameLst>
                                          <p:attrName>r</p:attrName>
                                        </p:attrNameLst>
                                      </p:cBhvr>
                                    </p:animRot>
                                    <p:animRot by="-240000">
                                      <p:cBhvr>
                                        <p:cTn id="79" dur="200" fill="hold">
                                          <p:stCondLst>
                                            <p:cond delay="200"/>
                                          </p:stCondLst>
                                        </p:cTn>
                                        <p:tgtEl>
                                          <p:spTgt spid="24"/>
                                        </p:tgtEl>
                                        <p:attrNameLst>
                                          <p:attrName>r</p:attrName>
                                        </p:attrNameLst>
                                      </p:cBhvr>
                                    </p:animRot>
                                    <p:animRot by="240000">
                                      <p:cBhvr>
                                        <p:cTn id="80" dur="200" fill="hold">
                                          <p:stCondLst>
                                            <p:cond delay="400"/>
                                          </p:stCondLst>
                                        </p:cTn>
                                        <p:tgtEl>
                                          <p:spTgt spid="24"/>
                                        </p:tgtEl>
                                        <p:attrNameLst>
                                          <p:attrName>r</p:attrName>
                                        </p:attrNameLst>
                                      </p:cBhvr>
                                    </p:animRot>
                                    <p:animRot by="-240000">
                                      <p:cBhvr>
                                        <p:cTn id="81" dur="200" fill="hold">
                                          <p:stCondLst>
                                            <p:cond delay="600"/>
                                          </p:stCondLst>
                                        </p:cTn>
                                        <p:tgtEl>
                                          <p:spTgt spid="24"/>
                                        </p:tgtEl>
                                        <p:attrNameLst>
                                          <p:attrName>r</p:attrName>
                                        </p:attrNameLst>
                                      </p:cBhvr>
                                    </p:animRot>
                                    <p:animRot by="120000">
                                      <p:cBhvr>
                                        <p:cTn id="82" dur="200" fill="hold">
                                          <p:stCondLst>
                                            <p:cond delay="800"/>
                                          </p:stCondLst>
                                        </p:cTn>
                                        <p:tgtEl>
                                          <p:spTgt spid="24"/>
                                        </p:tgtEl>
                                        <p:attrNameLst>
                                          <p:attrName>r</p:attrName>
                                        </p:attrNameLst>
                                      </p:cBhvr>
                                    </p:animRot>
                                  </p:childTnLst>
                                </p:cTn>
                              </p:par>
                              <p:par>
                                <p:cTn id="83" presetID="32" presetClass="emph" presetSubtype="0" repeatCount="indefinite" fill="hold" grpId="0" nodeType="withEffect">
                                  <p:stCondLst>
                                    <p:cond delay="0"/>
                                  </p:stCondLst>
                                  <p:endCondLst>
                                    <p:cond evt="onNext" delay="0">
                                      <p:tgtEl>
                                        <p:sldTgt/>
                                      </p:tgtEl>
                                    </p:cond>
                                  </p:endCondLst>
                                  <p:childTnLst>
                                    <p:animRot by="120000">
                                      <p:cBhvr>
                                        <p:cTn id="84" dur="100" fill="hold">
                                          <p:stCondLst>
                                            <p:cond delay="0"/>
                                          </p:stCondLst>
                                        </p:cTn>
                                        <p:tgtEl>
                                          <p:spTgt spid="25"/>
                                        </p:tgtEl>
                                        <p:attrNameLst>
                                          <p:attrName>r</p:attrName>
                                        </p:attrNameLst>
                                      </p:cBhvr>
                                    </p:animRot>
                                    <p:animRot by="-240000">
                                      <p:cBhvr>
                                        <p:cTn id="85" dur="200" fill="hold">
                                          <p:stCondLst>
                                            <p:cond delay="200"/>
                                          </p:stCondLst>
                                        </p:cTn>
                                        <p:tgtEl>
                                          <p:spTgt spid="25"/>
                                        </p:tgtEl>
                                        <p:attrNameLst>
                                          <p:attrName>r</p:attrName>
                                        </p:attrNameLst>
                                      </p:cBhvr>
                                    </p:animRot>
                                    <p:animRot by="240000">
                                      <p:cBhvr>
                                        <p:cTn id="86" dur="200" fill="hold">
                                          <p:stCondLst>
                                            <p:cond delay="400"/>
                                          </p:stCondLst>
                                        </p:cTn>
                                        <p:tgtEl>
                                          <p:spTgt spid="25"/>
                                        </p:tgtEl>
                                        <p:attrNameLst>
                                          <p:attrName>r</p:attrName>
                                        </p:attrNameLst>
                                      </p:cBhvr>
                                    </p:animRot>
                                    <p:animRot by="-240000">
                                      <p:cBhvr>
                                        <p:cTn id="87" dur="200" fill="hold">
                                          <p:stCondLst>
                                            <p:cond delay="600"/>
                                          </p:stCondLst>
                                        </p:cTn>
                                        <p:tgtEl>
                                          <p:spTgt spid="25"/>
                                        </p:tgtEl>
                                        <p:attrNameLst>
                                          <p:attrName>r</p:attrName>
                                        </p:attrNameLst>
                                      </p:cBhvr>
                                    </p:animRot>
                                    <p:animRot by="120000">
                                      <p:cBhvr>
                                        <p:cTn id="88" dur="200" fill="hold">
                                          <p:stCondLst>
                                            <p:cond delay="800"/>
                                          </p:stCondLst>
                                        </p:cTn>
                                        <p:tgtEl>
                                          <p:spTgt spid="25"/>
                                        </p:tgtEl>
                                        <p:attrNameLst>
                                          <p:attrName>r</p:attrName>
                                        </p:attrNameLst>
                                      </p:cBhvr>
                                    </p:animRot>
                                  </p:childTnLst>
                                </p:cTn>
                              </p:par>
                              <p:par>
                                <p:cTn id="89" presetID="32" presetClass="emph" presetSubtype="0" repeatCount="indefinite" fill="hold" grpId="0" nodeType="withEffect">
                                  <p:stCondLst>
                                    <p:cond delay="0"/>
                                  </p:stCondLst>
                                  <p:endCondLst>
                                    <p:cond evt="onNext" delay="0">
                                      <p:tgtEl>
                                        <p:sldTgt/>
                                      </p:tgtEl>
                                    </p:cond>
                                  </p:endCondLst>
                                  <p:childTnLst>
                                    <p:animRot by="120000">
                                      <p:cBhvr>
                                        <p:cTn id="90" dur="100" fill="hold">
                                          <p:stCondLst>
                                            <p:cond delay="0"/>
                                          </p:stCondLst>
                                        </p:cTn>
                                        <p:tgtEl>
                                          <p:spTgt spid="26"/>
                                        </p:tgtEl>
                                        <p:attrNameLst>
                                          <p:attrName>r</p:attrName>
                                        </p:attrNameLst>
                                      </p:cBhvr>
                                    </p:animRot>
                                    <p:animRot by="-240000">
                                      <p:cBhvr>
                                        <p:cTn id="91" dur="200" fill="hold">
                                          <p:stCondLst>
                                            <p:cond delay="200"/>
                                          </p:stCondLst>
                                        </p:cTn>
                                        <p:tgtEl>
                                          <p:spTgt spid="26"/>
                                        </p:tgtEl>
                                        <p:attrNameLst>
                                          <p:attrName>r</p:attrName>
                                        </p:attrNameLst>
                                      </p:cBhvr>
                                    </p:animRot>
                                    <p:animRot by="240000">
                                      <p:cBhvr>
                                        <p:cTn id="92" dur="200" fill="hold">
                                          <p:stCondLst>
                                            <p:cond delay="400"/>
                                          </p:stCondLst>
                                        </p:cTn>
                                        <p:tgtEl>
                                          <p:spTgt spid="26"/>
                                        </p:tgtEl>
                                        <p:attrNameLst>
                                          <p:attrName>r</p:attrName>
                                        </p:attrNameLst>
                                      </p:cBhvr>
                                    </p:animRot>
                                    <p:animRot by="-240000">
                                      <p:cBhvr>
                                        <p:cTn id="93" dur="200" fill="hold">
                                          <p:stCondLst>
                                            <p:cond delay="600"/>
                                          </p:stCondLst>
                                        </p:cTn>
                                        <p:tgtEl>
                                          <p:spTgt spid="26"/>
                                        </p:tgtEl>
                                        <p:attrNameLst>
                                          <p:attrName>r</p:attrName>
                                        </p:attrNameLst>
                                      </p:cBhvr>
                                    </p:animRot>
                                    <p:animRot by="120000">
                                      <p:cBhvr>
                                        <p:cTn id="94" dur="200" fill="hold">
                                          <p:stCondLst>
                                            <p:cond delay="800"/>
                                          </p:stCondLst>
                                        </p:cTn>
                                        <p:tgtEl>
                                          <p:spTgt spid="26"/>
                                        </p:tgtEl>
                                        <p:attrNameLst>
                                          <p:attrName>r</p:attrName>
                                        </p:attrNameLst>
                                      </p:cBhvr>
                                    </p:animRot>
                                  </p:childTnLst>
                                </p:cTn>
                              </p:par>
                            </p:childTnLst>
                          </p:cTn>
                        </p:par>
                      </p:childTnLst>
                    </p:cTn>
                  </p:par>
                  <p:par>
                    <p:cTn id="95" fill="hold">
                      <p:stCondLst>
                        <p:cond delay="indefinite"/>
                      </p:stCondLst>
                      <p:childTnLst>
                        <p:par>
                          <p:cTn id="96" fill="hold">
                            <p:stCondLst>
                              <p:cond delay="0"/>
                            </p:stCondLst>
                            <p:childTnLst>
                              <p:par>
                                <p:cTn id="97" presetID="9" presetClass="emph" presetSubtype="0" grpId="2" nodeType="clickEffect">
                                  <p:stCondLst>
                                    <p:cond delay="0"/>
                                  </p:stCondLst>
                                  <p:childTnLst>
                                    <p:set>
                                      <p:cBhvr rctx="PPT">
                                        <p:cTn id="98" dur="indefinite"/>
                                        <p:tgtEl>
                                          <p:spTgt spid="12"/>
                                        </p:tgtEl>
                                        <p:attrNameLst>
                                          <p:attrName>style.opacity</p:attrName>
                                        </p:attrNameLst>
                                      </p:cBhvr>
                                      <p:to>
                                        <p:strVal val="0.5"/>
                                      </p:to>
                                    </p:set>
                                    <p:animEffect filter="image" prLst="opacity: 0.5">
                                      <p:cBhvr rctx="IE">
                                        <p:cTn id="99" dur="indefinite"/>
                                        <p:tgtEl>
                                          <p:spTgt spid="12"/>
                                        </p:tgtEl>
                                      </p:cBhvr>
                                    </p:animEffect>
                                  </p:childTnLst>
                                </p:cTn>
                              </p:par>
                              <p:par>
                                <p:cTn id="100" presetID="9" presetClass="emph" presetSubtype="0" grpId="2" nodeType="withEffect">
                                  <p:stCondLst>
                                    <p:cond delay="0"/>
                                  </p:stCondLst>
                                  <p:childTnLst>
                                    <p:set>
                                      <p:cBhvr rctx="PPT">
                                        <p:cTn id="101" dur="indefinite"/>
                                        <p:tgtEl>
                                          <p:spTgt spid="13"/>
                                        </p:tgtEl>
                                        <p:attrNameLst>
                                          <p:attrName>style.opacity</p:attrName>
                                        </p:attrNameLst>
                                      </p:cBhvr>
                                      <p:to>
                                        <p:strVal val="0.5"/>
                                      </p:to>
                                    </p:set>
                                    <p:animEffect filter="image" prLst="opacity: 0.5">
                                      <p:cBhvr rctx="IE">
                                        <p:cTn id="102" dur="indefinite"/>
                                        <p:tgtEl>
                                          <p:spTgt spid="13"/>
                                        </p:tgtEl>
                                      </p:cBhvr>
                                    </p:animEffect>
                                  </p:childTnLst>
                                </p:cTn>
                              </p:par>
                              <p:par>
                                <p:cTn id="103" presetID="9" presetClass="emph" presetSubtype="0" grpId="2" nodeType="withEffect">
                                  <p:stCondLst>
                                    <p:cond delay="0"/>
                                  </p:stCondLst>
                                  <p:childTnLst>
                                    <p:set>
                                      <p:cBhvr rctx="PPT">
                                        <p:cTn id="104" dur="indefinite"/>
                                        <p:tgtEl>
                                          <p:spTgt spid="14"/>
                                        </p:tgtEl>
                                        <p:attrNameLst>
                                          <p:attrName>style.opacity</p:attrName>
                                        </p:attrNameLst>
                                      </p:cBhvr>
                                      <p:to>
                                        <p:strVal val="0.5"/>
                                      </p:to>
                                    </p:set>
                                    <p:animEffect filter="image" prLst="opacity: 0.5">
                                      <p:cBhvr rctx="IE">
                                        <p:cTn id="105" dur="indefinite"/>
                                        <p:tgtEl>
                                          <p:spTgt spid="14"/>
                                        </p:tgtEl>
                                      </p:cBhvr>
                                    </p:animEffect>
                                  </p:childTnLst>
                                </p:cTn>
                              </p:par>
                              <p:par>
                                <p:cTn id="106" presetID="9" presetClass="emph" presetSubtype="0" grpId="2" nodeType="withEffect">
                                  <p:stCondLst>
                                    <p:cond delay="0"/>
                                  </p:stCondLst>
                                  <p:childTnLst>
                                    <p:set>
                                      <p:cBhvr rctx="PPT">
                                        <p:cTn id="107" dur="indefinite"/>
                                        <p:tgtEl>
                                          <p:spTgt spid="16"/>
                                        </p:tgtEl>
                                        <p:attrNameLst>
                                          <p:attrName>style.opacity</p:attrName>
                                        </p:attrNameLst>
                                      </p:cBhvr>
                                      <p:to>
                                        <p:strVal val="0.5"/>
                                      </p:to>
                                    </p:set>
                                    <p:animEffect filter="image" prLst="opacity: 0.5">
                                      <p:cBhvr rctx="IE">
                                        <p:cTn id="108" dur="indefinite"/>
                                        <p:tgtEl>
                                          <p:spTgt spid="16"/>
                                        </p:tgtEl>
                                      </p:cBhvr>
                                    </p:animEffect>
                                  </p:childTnLst>
                                </p:cTn>
                              </p:par>
                              <p:par>
                                <p:cTn id="109" presetID="9" presetClass="emph" presetSubtype="0" grpId="2" nodeType="withEffect">
                                  <p:stCondLst>
                                    <p:cond delay="0"/>
                                  </p:stCondLst>
                                  <p:childTnLst>
                                    <p:set>
                                      <p:cBhvr rctx="PPT">
                                        <p:cTn id="110" dur="indefinite"/>
                                        <p:tgtEl>
                                          <p:spTgt spid="17"/>
                                        </p:tgtEl>
                                        <p:attrNameLst>
                                          <p:attrName>style.opacity</p:attrName>
                                        </p:attrNameLst>
                                      </p:cBhvr>
                                      <p:to>
                                        <p:strVal val="0.5"/>
                                      </p:to>
                                    </p:set>
                                    <p:animEffect filter="image" prLst="opacity: 0.5">
                                      <p:cBhvr rctx="IE">
                                        <p:cTn id="111" dur="indefinite"/>
                                        <p:tgtEl>
                                          <p:spTgt spid="17"/>
                                        </p:tgtEl>
                                      </p:cBhvr>
                                    </p:animEffect>
                                  </p:childTnLst>
                                </p:cTn>
                              </p:par>
                              <p:par>
                                <p:cTn id="112" presetID="9" presetClass="emph" presetSubtype="0" grpId="2" nodeType="withEffect">
                                  <p:stCondLst>
                                    <p:cond delay="0"/>
                                  </p:stCondLst>
                                  <p:childTnLst>
                                    <p:set>
                                      <p:cBhvr rctx="PPT">
                                        <p:cTn id="113" dur="indefinite"/>
                                        <p:tgtEl>
                                          <p:spTgt spid="18"/>
                                        </p:tgtEl>
                                        <p:attrNameLst>
                                          <p:attrName>style.opacity</p:attrName>
                                        </p:attrNameLst>
                                      </p:cBhvr>
                                      <p:to>
                                        <p:strVal val="0.5"/>
                                      </p:to>
                                    </p:set>
                                    <p:animEffect filter="image" prLst="opacity: 0.5">
                                      <p:cBhvr rctx="IE">
                                        <p:cTn id="114" dur="indefinite"/>
                                        <p:tgtEl>
                                          <p:spTgt spid="18"/>
                                        </p:tgtEl>
                                      </p:cBhvr>
                                    </p:animEffect>
                                  </p:childTnLst>
                                </p:cTn>
                              </p:par>
                              <p:par>
                                <p:cTn id="115" presetID="9" presetClass="emph" presetSubtype="0" grpId="2" nodeType="withEffect">
                                  <p:stCondLst>
                                    <p:cond delay="0"/>
                                  </p:stCondLst>
                                  <p:childTnLst>
                                    <p:set>
                                      <p:cBhvr rctx="PPT">
                                        <p:cTn id="116" dur="indefinite"/>
                                        <p:tgtEl>
                                          <p:spTgt spid="19"/>
                                        </p:tgtEl>
                                        <p:attrNameLst>
                                          <p:attrName>style.opacity</p:attrName>
                                        </p:attrNameLst>
                                      </p:cBhvr>
                                      <p:to>
                                        <p:strVal val="0.5"/>
                                      </p:to>
                                    </p:set>
                                    <p:animEffect filter="image" prLst="opacity: 0.5">
                                      <p:cBhvr rctx="IE">
                                        <p:cTn id="117" dur="indefinite"/>
                                        <p:tgtEl>
                                          <p:spTgt spid="19"/>
                                        </p:tgtEl>
                                      </p:cBhvr>
                                    </p:animEffect>
                                  </p:childTnLst>
                                </p:cTn>
                              </p:par>
                              <p:par>
                                <p:cTn id="118" presetID="9" presetClass="emph" presetSubtype="0" grpId="2" nodeType="withEffect">
                                  <p:stCondLst>
                                    <p:cond delay="0"/>
                                  </p:stCondLst>
                                  <p:childTnLst>
                                    <p:set>
                                      <p:cBhvr rctx="PPT">
                                        <p:cTn id="119" dur="indefinite"/>
                                        <p:tgtEl>
                                          <p:spTgt spid="20"/>
                                        </p:tgtEl>
                                        <p:attrNameLst>
                                          <p:attrName>style.opacity</p:attrName>
                                        </p:attrNameLst>
                                      </p:cBhvr>
                                      <p:to>
                                        <p:strVal val="0.5"/>
                                      </p:to>
                                    </p:set>
                                    <p:animEffect filter="image" prLst="opacity: 0.5">
                                      <p:cBhvr rctx="IE">
                                        <p:cTn id="120" dur="indefinite"/>
                                        <p:tgtEl>
                                          <p:spTgt spid="20"/>
                                        </p:tgtEl>
                                      </p:cBhvr>
                                    </p:animEffect>
                                  </p:childTnLst>
                                </p:cTn>
                              </p:par>
                              <p:par>
                                <p:cTn id="121" presetID="9" presetClass="emph" presetSubtype="0" grpId="2" nodeType="withEffect">
                                  <p:stCondLst>
                                    <p:cond delay="0"/>
                                  </p:stCondLst>
                                  <p:childTnLst>
                                    <p:set>
                                      <p:cBhvr rctx="PPT">
                                        <p:cTn id="122" dur="indefinite"/>
                                        <p:tgtEl>
                                          <p:spTgt spid="11"/>
                                        </p:tgtEl>
                                        <p:attrNameLst>
                                          <p:attrName>style.opacity</p:attrName>
                                        </p:attrNameLst>
                                      </p:cBhvr>
                                      <p:to>
                                        <p:strVal val="0.5"/>
                                      </p:to>
                                    </p:set>
                                    <p:animEffect filter="image" prLst="opacity: 0.5">
                                      <p:cBhvr rctx="IE">
                                        <p:cTn id="123" dur="indefinite"/>
                                        <p:tgtEl>
                                          <p:spTgt spid="11"/>
                                        </p:tgtEl>
                                      </p:cBhvr>
                                    </p:animEffect>
                                  </p:childTnLst>
                                </p:cTn>
                              </p:par>
                              <p:par>
                                <p:cTn id="124" presetID="9" presetClass="emph" presetSubtype="0" grpId="2" nodeType="withEffect">
                                  <p:stCondLst>
                                    <p:cond delay="0"/>
                                  </p:stCondLst>
                                  <p:childTnLst>
                                    <p:set>
                                      <p:cBhvr rctx="PPT">
                                        <p:cTn id="125" dur="indefinite"/>
                                        <p:tgtEl>
                                          <p:spTgt spid="21"/>
                                        </p:tgtEl>
                                        <p:attrNameLst>
                                          <p:attrName>style.opacity</p:attrName>
                                        </p:attrNameLst>
                                      </p:cBhvr>
                                      <p:to>
                                        <p:strVal val="0.5"/>
                                      </p:to>
                                    </p:set>
                                    <p:animEffect filter="image" prLst="opacity: 0.5">
                                      <p:cBhvr rctx="IE">
                                        <p:cTn id="126" dur="indefinite"/>
                                        <p:tgtEl>
                                          <p:spTgt spid="21"/>
                                        </p:tgtEl>
                                      </p:cBhvr>
                                    </p:animEffect>
                                  </p:childTnLst>
                                </p:cTn>
                              </p:par>
                              <p:par>
                                <p:cTn id="127" presetID="9" presetClass="emph" presetSubtype="0" grpId="2" nodeType="withEffect">
                                  <p:stCondLst>
                                    <p:cond delay="0"/>
                                  </p:stCondLst>
                                  <p:childTnLst>
                                    <p:set>
                                      <p:cBhvr rctx="PPT">
                                        <p:cTn id="128" dur="indefinite"/>
                                        <p:tgtEl>
                                          <p:spTgt spid="22"/>
                                        </p:tgtEl>
                                        <p:attrNameLst>
                                          <p:attrName>style.opacity</p:attrName>
                                        </p:attrNameLst>
                                      </p:cBhvr>
                                      <p:to>
                                        <p:strVal val="0.5"/>
                                      </p:to>
                                    </p:set>
                                    <p:animEffect filter="image" prLst="opacity: 0.5">
                                      <p:cBhvr rctx="IE">
                                        <p:cTn id="129" dur="indefinite"/>
                                        <p:tgtEl>
                                          <p:spTgt spid="22"/>
                                        </p:tgtEl>
                                      </p:cBhvr>
                                    </p:animEffect>
                                  </p:childTnLst>
                                </p:cTn>
                              </p:par>
                              <p:par>
                                <p:cTn id="130" presetID="9" presetClass="emph" presetSubtype="0" grpId="2" nodeType="withEffect">
                                  <p:stCondLst>
                                    <p:cond delay="0"/>
                                  </p:stCondLst>
                                  <p:childTnLst>
                                    <p:set>
                                      <p:cBhvr rctx="PPT">
                                        <p:cTn id="131" dur="indefinite"/>
                                        <p:tgtEl>
                                          <p:spTgt spid="23"/>
                                        </p:tgtEl>
                                        <p:attrNameLst>
                                          <p:attrName>style.opacity</p:attrName>
                                        </p:attrNameLst>
                                      </p:cBhvr>
                                      <p:to>
                                        <p:strVal val="0.5"/>
                                      </p:to>
                                    </p:set>
                                    <p:animEffect filter="image" prLst="opacity: 0.5">
                                      <p:cBhvr rctx="IE">
                                        <p:cTn id="132" dur="indefinite"/>
                                        <p:tgtEl>
                                          <p:spTgt spid="23"/>
                                        </p:tgtEl>
                                      </p:cBhvr>
                                    </p:animEffect>
                                  </p:childTnLst>
                                </p:cTn>
                              </p:par>
                              <p:par>
                                <p:cTn id="133" presetID="9" presetClass="emph" presetSubtype="0" grpId="2" nodeType="withEffect">
                                  <p:stCondLst>
                                    <p:cond delay="0"/>
                                  </p:stCondLst>
                                  <p:childTnLst>
                                    <p:set>
                                      <p:cBhvr rctx="PPT">
                                        <p:cTn id="134" dur="indefinite"/>
                                        <p:tgtEl>
                                          <p:spTgt spid="24"/>
                                        </p:tgtEl>
                                        <p:attrNameLst>
                                          <p:attrName>style.opacity</p:attrName>
                                        </p:attrNameLst>
                                      </p:cBhvr>
                                      <p:to>
                                        <p:strVal val="0.5"/>
                                      </p:to>
                                    </p:set>
                                    <p:animEffect filter="image" prLst="opacity: 0.5">
                                      <p:cBhvr rctx="IE">
                                        <p:cTn id="135" dur="indefinite"/>
                                        <p:tgtEl>
                                          <p:spTgt spid="24"/>
                                        </p:tgtEl>
                                      </p:cBhvr>
                                    </p:animEffect>
                                  </p:childTnLst>
                                </p:cTn>
                              </p:par>
                              <p:par>
                                <p:cTn id="136" presetID="9" presetClass="emph" presetSubtype="0" grpId="2" nodeType="withEffect">
                                  <p:stCondLst>
                                    <p:cond delay="0"/>
                                  </p:stCondLst>
                                  <p:childTnLst>
                                    <p:set>
                                      <p:cBhvr rctx="PPT">
                                        <p:cTn id="137" dur="indefinite"/>
                                        <p:tgtEl>
                                          <p:spTgt spid="25"/>
                                        </p:tgtEl>
                                        <p:attrNameLst>
                                          <p:attrName>style.opacity</p:attrName>
                                        </p:attrNameLst>
                                      </p:cBhvr>
                                      <p:to>
                                        <p:strVal val="0.5"/>
                                      </p:to>
                                    </p:set>
                                    <p:animEffect filter="image" prLst="opacity: 0.5">
                                      <p:cBhvr rctx="IE">
                                        <p:cTn id="138" dur="indefinite"/>
                                        <p:tgtEl>
                                          <p:spTgt spid="25"/>
                                        </p:tgtEl>
                                      </p:cBhvr>
                                    </p:animEffect>
                                  </p:childTnLst>
                                </p:cTn>
                              </p:par>
                              <p:par>
                                <p:cTn id="139" presetID="9" presetClass="emph" presetSubtype="0" grpId="2" nodeType="withEffect">
                                  <p:stCondLst>
                                    <p:cond delay="0"/>
                                  </p:stCondLst>
                                  <p:childTnLst>
                                    <p:set>
                                      <p:cBhvr rctx="PPT">
                                        <p:cTn id="140" dur="indefinite"/>
                                        <p:tgtEl>
                                          <p:spTgt spid="26"/>
                                        </p:tgtEl>
                                        <p:attrNameLst>
                                          <p:attrName>style.opacity</p:attrName>
                                        </p:attrNameLst>
                                      </p:cBhvr>
                                      <p:to>
                                        <p:strVal val="0.5"/>
                                      </p:to>
                                    </p:set>
                                    <p:animEffect filter="image" prLst="opacity: 0.5">
                                      <p:cBhvr rctx="IE">
                                        <p:cTn id="141" dur="indefinite"/>
                                        <p:tgtEl>
                                          <p:spTgt spid="26"/>
                                        </p:tgtEl>
                                      </p:cBhvr>
                                    </p:animEffect>
                                  </p:childTnLst>
                                </p:cTn>
                              </p:par>
                            </p:childTnLst>
                          </p:cTn>
                        </p:par>
                        <p:par>
                          <p:cTn id="142" fill="hold">
                            <p:stCondLst>
                              <p:cond delay="0"/>
                            </p:stCondLst>
                            <p:childTnLst>
                              <p:par>
                                <p:cTn id="143" presetID="42" presetClass="path" presetSubtype="0" accel="50000" decel="50000" fill="hold" grpId="1" nodeType="afterEffect">
                                  <p:stCondLst>
                                    <p:cond delay="0"/>
                                  </p:stCondLst>
                                  <p:childTnLst>
                                    <p:animMotion origin="layout" path="M -2.05161E-6 -1.50856E-6 L -0.10594 0.54281 " pathEditMode="relative" rAng="0" ptsTypes="AA">
                                      <p:cBhvr>
                                        <p:cTn id="144" dur="2000" fill="hold"/>
                                        <p:tgtEl>
                                          <p:spTgt spid="12"/>
                                        </p:tgtEl>
                                        <p:attrNameLst>
                                          <p:attrName>ppt_x</p:attrName>
                                          <p:attrName>ppt_y</p:attrName>
                                        </p:attrNameLst>
                                      </p:cBhvr>
                                      <p:rCtr x="-5305" y="27140"/>
                                    </p:animMotion>
                                  </p:childTnLst>
                                </p:cTn>
                              </p:par>
                              <p:par>
                                <p:cTn id="145" presetID="42" presetClass="path" presetSubtype="0" accel="50000" decel="50000" fill="hold" grpId="1" nodeType="withEffect">
                                  <p:stCondLst>
                                    <p:cond delay="0"/>
                                  </p:stCondLst>
                                  <p:childTnLst>
                                    <p:animMotion origin="layout" path="M -2.36821E-6 2.31267E-7 L 0.06618 0.61586 " pathEditMode="relative" rAng="0" ptsTypes="AA">
                                      <p:cBhvr>
                                        <p:cTn id="146" dur="2000" fill="hold"/>
                                        <p:tgtEl>
                                          <p:spTgt spid="13"/>
                                        </p:tgtEl>
                                        <p:attrNameLst>
                                          <p:attrName>ppt_x</p:attrName>
                                          <p:attrName>ppt_y</p:attrName>
                                        </p:attrNameLst>
                                      </p:cBhvr>
                                      <p:rCtr x="3301" y="30782"/>
                                    </p:animMotion>
                                  </p:childTnLst>
                                </p:cTn>
                              </p:par>
                              <p:par>
                                <p:cTn id="147" presetID="42" presetClass="path" presetSubtype="0" accel="50000" decel="50000" fill="hold" grpId="1" nodeType="withEffect">
                                  <p:stCondLst>
                                    <p:cond delay="0"/>
                                  </p:stCondLst>
                                  <p:childTnLst>
                                    <p:animMotion origin="layout" path="M -4.307E-6 4.18131E-6 L 0.00145 0.50832 " pathEditMode="relative" rAng="0" ptsTypes="AA">
                                      <p:cBhvr>
                                        <p:cTn id="148" dur="2000" fill="hold"/>
                                        <p:tgtEl>
                                          <p:spTgt spid="14"/>
                                        </p:tgtEl>
                                        <p:attrNameLst>
                                          <p:attrName>ppt_x</p:attrName>
                                          <p:attrName>ppt_y</p:attrName>
                                        </p:attrNameLst>
                                      </p:cBhvr>
                                      <p:rCtr x="64" y="25416"/>
                                    </p:animMotion>
                                  </p:childTnLst>
                                </p:cTn>
                              </p:par>
                              <p:par>
                                <p:cTn id="149" presetID="42" presetClass="path" presetSubtype="0" accel="50000" decel="50000" fill="hold" grpId="1" nodeType="withEffect">
                                  <p:stCondLst>
                                    <p:cond delay="0"/>
                                  </p:stCondLst>
                                  <p:childTnLst>
                                    <p:animMotion origin="layout" path="M 3.90127E-6 3.07265E-6 L -0.00754 0.37853 " pathEditMode="relative" rAng="0" ptsTypes="AA">
                                      <p:cBhvr>
                                        <p:cTn id="150" dur="2000" fill="hold"/>
                                        <p:tgtEl>
                                          <p:spTgt spid="16"/>
                                        </p:tgtEl>
                                        <p:attrNameLst>
                                          <p:attrName>ppt_x</p:attrName>
                                          <p:attrName>ppt_y</p:attrName>
                                        </p:attrNameLst>
                                      </p:cBhvr>
                                      <p:rCtr x="-385" y="18926"/>
                                    </p:animMotion>
                                  </p:childTnLst>
                                </p:cTn>
                              </p:par>
                              <p:par>
                                <p:cTn id="151" presetID="42" presetClass="path" presetSubtype="0" accel="50000" decel="50000" fill="hold" grpId="1" nodeType="withEffect">
                                  <p:stCondLst>
                                    <p:cond delay="0"/>
                                  </p:stCondLst>
                                  <p:childTnLst>
                                    <p:animMotion origin="layout" path="M 1.33793E-6 -3.42276E-7 L 0.10463 0.5444 " pathEditMode="relative" rAng="0" ptsTypes="AA">
                                      <p:cBhvr>
                                        <p:cTn id="152" dur="2000" fill="hold"/>
                                        <p:tgtEl>
                                          <p:spTgt spid="17"/>
                                        </p:tgtEl>
                                        <p:attrNameLst>
                                          <p:attrName>ppt_x</p:attrName>
                                          <p:attrName>ppt_y</p:attrName>
                                        </p:attrNameLst>
                                      </p:cBhvr>
                                      <p:rCtr x="5224" y="27220"/>
                                    </p:animMotion>
                                  </p:childTnLst>
                                </p:cTn>
                              </p:par>
                              <p:par>
                                <p:cTn id="153" presetID="42" presetClass="path" presetSubtype="0" accel="50000" decel="50000" fill="hold" grpId="1" nodeType="withEffect">
                                  <p:stCondLst>
                                    <p:cond delay="0"/>
                                  </p:stCondLst>
                                  <p:childTnLst>
                                    <p:animMotion origin="layout" path="M -2.26479E-6 -4.7478E-6 L -0.02067 0.63166 " pathEditMode="relative" rAng="0" ptsTypes="AA">
                                      <p:cBhvr>
                                        <p:cTn id="154" dur="2000" fill="hold"/>
                                        <p:tgtEl>
                                          <p:spTgt spid="18"/>
                                        </p:tgtEl>
                                        <p:attrNameLst>
                                          <p:attrName>ppt_x</p:attrName>
                                          <p:attrName>ppt_y</p:attrName>
                                        </p:attrNameLst>
                                      </p:cBhvr>
                                      <p:rCtr x="-1042" y="31583"/>
                                    </p:animMotion>
                                  </p:childTnLst>
                                </p:cTn>
                              </p:par>
                              <p:par>
                                <p:cTn id="155" presetID="42" presetClass="path" presetSubtype="0" accel="50000" decel="50000" fill="hold" grpId="1" nodeType="withEffect">
                                  <p:stCondLst>
                                    <p:cond delay="0"/>
                                  </p:stCondLst>
                                  <p:childTnLst>
                                    <p:animMotion origin="layout" path="M 7.09822E-7 -4.55134E-6 L -0.00689 0.66767 " pathEditMode="relative" rAng="0" ptsTypes="AA">
                                      <p:cBhvr>
                                        <p:cTn id="156" dur="2000" fill="hold"/>
                                        <p:tgtEl>
                                          <p:spTgt spid="19"/>
                                        </p:tgtEl>
                                        <p:attrNameLst>
                                          <p:attrName>ppt_x</p:attrName>
                                          <p:attrName>ppt_y</p:attrName>
                                        </p:attrNameLst>
                                      </p:cBhvr>
                                      <p:rCtr x="-353" y="33372"/>
                                    </p:animMotion>
                                  </p:childTnLst>
                                </p:cTn>
                              </p:par>
                              <p:par>
                                <p:cTn id="157" presetID="42" presetClass="path" presetSubtype="0" accel="50000" decel="50000" fill="hold" grpId="1" nodeType="withEffect">
                                  <p:stCondLst>
                                    <p:cond delay="0"/>
                                  </p:stCondLst>
                                  <p:childTnLst>
                                    <p:animMotion origin="layout" path="M 2.48678E-6 -1.28585E-6 L 0.04134 0.66744 " pathEditMode="relative" rAng="0" ptsTypes="AA">
                                      <p:cBhvr>
                                        <p:cTn id="158" dur="2000" fill="hold"/>
                                        <p:tgtEl>
                                          <p:spTgt spid="20"/>
                                        </p:tgtEl>
                                        <p:attrNameLst>
                                          <p:attrName>ppt_x</p:attrName>
                                          <p:attrName>ppt_y</p:attrName>
                                        </p:attrNameLst>
                                      </p:cBhvr>
                                      <p:rCtr x="2067" y="33372"/>
                                    </p:animMotion>
                                  </p:childTnLst>
                                </p:cTn>
                              </p:par>
                              <p:par>
                                <p:cTn id="159" presetID="42" presetClass="path" presetSubtype="0" accel="50000" decel="50000" fill="hold" grpId="1" nodeType="withEffect">
                                  <p:stCondLst>
                                    <p:cond delay="0"/>
                                  </p:stCondLst>
                                  <p:childTnLst>
                                    <p:animMotion origin="layout" path="M 3.2623E-6 -3.08048E-6 L 0.04951 0.58997 " pathEditMode="relative" rAng="0" ptsTypes="AA">
                                      <p:cBhvr>
                                        <p:cTn id="160" dur="2000" fill="hold"/>
                                        <p:tgtEl>
                                          <p:spTgt spid="11"/>
                                        </p:tgtEl>
                                        <p:attrNameLst>
                                          <p:attrName>ppt_x</p:attrName>
                                          <p:attrName>ppt_y</p:attrName>
                                        </p:attrNameLst>
                                      </p:cBhvr>
                                      <p:rCtr x="2468" y="29487"/>
                                    </p:animMotion>
                                  </p:childTnLst>
                                </p:cTn>
                              </p:par>
                              <p:par>
                                <p:cTn id="161" presetID="42" presetClass="path" presetSubtype="0" accel="50000" decel="50000" fill="hold" grpId="1" nodeType="withEffect">
                                  <p:stCondLst>
                                    <p:cond delay="0"/>
                                  </p:stCondLst>
                                  <p:childTnLst>
                                    <p:animMotion origin="layout" path="M -3.90963E-6 -7.67808E-7 L 0.00962 0.49237 " pathEditMode="relative" rAng="0" ptsTypes="AA">
                                      <p:cBhvr>
                                        <p:cTn id="162" dur="2000" fill="hold"/>
                                        <p:tgtEl>
                                          <p:spTgt spid="21"/>
                                        </p:tgtEl>
                                        <p:attrNameLst>
                                          <p:attrName>ppt_x</p:attrName>
                                          <p:attrName>ppt_y</p:attrName>
                                        </p:attrNameLst>
                                      </p:cBhvr>
                                      <p:rCtr x="481" y="24607"/>
                                    </p:animMotion>
                                  </p:childTnLst>
                                </p:cTn>
                              </p:par>
                              <p:par>
                                <p:cTn id="163" presetID="42" presetClass="path" presetSubtype="0" accel="50000" decel="50000" fill="hold" grpId="1" nodeType="withEffect">
                                  <p:stCondLst>
                                    <p:cond delay="0"/>
                                  </p:stCondLst>
                                  <p:childTnLst>
                                    <p:animMotion origin="layout" path="M -1.60231E-6 3.16374E-6 L 0.06057 0.47479 " pathEditMode="relative" rAng="0" ptsTypes="AA">
                                      <p:cBhvr>
                                        <p:cTn id="164" dur="2000" fill="hold"/>
                                        <p:tgtEl>
                                          <p:spTgt spid="22"/>
                                        </p:tgtEl>
                                        <p:attrNameLst>
                                          <p:attrName>ppt_x</p:attrName>
                                          <p:attrName>ppt_y</p:attrName>
                                        </p:attrNameLst>
                                      </p:cBhvr>
                                      <p:rCtr x="3028" y="23728"/>
                                    </p:animMotion>
                                  </p:childTnLst>
                                </p:cTn>
                              </p:par>
                              <p:par>
                                <p:cTn id="165" presetID="42" presetClass="path" presetSubtype="0" accel="50000" decel="50000" fill="hold" grpId="1" nodeType="withEffect">
                                  <p:stCondLst>
                                    <p:cond delay="0"/>
                                  </p:stCondLst>
                                  <p:childTnLst>
                                    <p:animMotion origin="layout" path="M -4.72832E-6 2.8459E-6 L -4.72832E-6 0.33179 " pathEditMode="relative" rAng="0" ptsTypes="AA">
                                      <p:cBhvr>
                                        <p:cTn id="166" dur="2000" fill="hold"/>
                                        <p:tgtEl>
                                          <p:spTgt spid="23"/>
                                        </p:tgtEl>
                                        <p:attrNameLst>
                                          <p:attrName>ppt_x</p:attrName>
                                          <p:attrName>ppt_y</p:attrName>
                                        </p:attrNameLst>
                                      </p:cBhvr>
                                      <p:rCtr x="0" y="16590"/>
                                    </p:animMotion>
                                  </p:childTnLst>
                                </p:cTn>
                              </p:par>
                              <p:par>
                                <p:cTn id="167" presetID="42" presetClass="path" presetSubtype="0" accel="50000" decel="50000" fill="hold" grpId="1" nodeType="withEffect">
                                  <p:stCondLst>
                                    <p:cond delay="0"/>
                                  </p:stCondLst>
                                  <p:childTnLst>
                                    <p:animMotion origin="layout" path="M 6.60362E-7 -4.44702E-6 L -0.06459 0.29339 " pathEditMode="relative" rAng="0" ptsTypes="AA">
                                      <p:cBhvr>
                                        <p:cTn id="168" dur="2000" fill="hold"/>
                                        <p:tgtEl>
                                          <p:spTgt spid="24"/>
                                        </p:tgtEl>
                                        <p:attrNameLst>
                                          <p:attrName>ppt_x</p:attrName>
                                          <p:attrName>ppt_y</p:attrName>
                                        </p:attrNameLst>
                                      </p:cBhvr>
                                      <p:rCtr x="-3238" y="14669"/>
                                    </p:animMotion>
                                  </p:childTnLst>
                                </p:cTn>
                              </p:par>
                              <p:par>
                                <p:cTn id="169" presetID="42" presetClass="path" presetSubtype="0" accel="50000" decel="50000" fill="hold" grpId="1" nodeType="withEffect">
                                  <p:stCondLst>
                                    <p:cond delay="0"/>
                                  </p:stCondLst>
                                  <p:childTnLst>
                                    <p:animMotion origin="layout" path="M -1.29787E-7 -1.2951E-6 L 0.10735 0.35523 " pathEditMode="relative" rAng="0" ptsTypes="AA">
                                      <p:cBhvr>
                                        <p:cTn id="170" dur="2000" fill="hold"/>
                                        <p:tgtEl>
                                          <p:spTgt spid="25"/>
                                        </p:tgtEl>
                                        <p:attrNameLst>
                                          <p:attrName>ppt_x</p:attrName>
                                          <p:attrName>ppt_y</p:attrName>
                                        </p:attrNameLst>
                                      </p:cBhvr>
                                      <p:rCtr x="5368" y="17761"/>
                                    </p:animMotion>
                                  </p:childTnLst>
                                </p:cTn>
                              </p:par>
                              <p:par>
                                <p:cTn id="171" presetID="42" presetClass="path" presetSubtype="0" accel="50000" decel="50000" fill="hold" grpId="1" nodeType="withEffect">
                                  <p:stCondLst>
                                    <p:cond delay="0"/>
                                  </p:stCondLst>
                                  <p:childTnLst>
                                    <p:animMotion origin="layout" path="M 1.01138E-6 9.53262E-7 L -0.22231 0.53702 " pathEditMode="relative" rAng="0" ptsTypes="AA">
                                      <p:cBhvr>
                                        <p:cTn id="172" dur="2000" fill="hold"/>
                                        <p:tgtEl>
                                          <p:spTgt spid="26"/>
                                        </p:tgtEl>
                                        <p:attrNameLst>
                                          <p:attrName>ppt_x</p:attrName>
                                          <p:attrName>ppt_y</p:attrName>
                                        </p:attrNameLst>
                                      </p:cBhvr>
                                      <p:rCtr x="-11124" y="2683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2" grpId="2" animBg="1"/>
      <p:bldP spid="13" grpId="0" animBg="1"/>
      <p:bldP spid="13" grpId="1" animBg="1"/>
      <p:bldP spid="13" grpId="2" animBg="1"/>
      <p:bldP spid="14" grpId="0" animBg="1"/>
      <p:bldP spid="14" grpId="1" animBg="1"/>
      <p:bldP spid="14" grpId="2" animBg="1"/>
      <p:bldP spid="16" grpId="0" animBg="1"/>
      <p:bldP spid="16" grpId="1" animBg="1"/>
      <p:bldP spid="16" grpId="2" animBg="1"/>
      <p:bldP spid="17" grpId="0" animBg="1"/>
      <p:bldP spid="17" grpId="1" animBg="1"/>
      <p:bldP spid="17" grpId="2" animBg="1"/>
      <p:bldP spid="18" grpId="0" animBg="1"/>
      <p:bldP spid="18" grpId="1" animBg="1"/>
      <p:bldP spid="18" grpId="2" animBg="1"/>
      <p:bldP spid="19" grpId="0" animBg="1"/>
      <p:bldP spid="19" grpId="1" animBg="1"/>
      <p:bldP spid="19" grpId="2" animBg="1"/>
      <p:bldP spid="20" grpId="0" animBg="1"/>
      <p:bldP spid="20" grpId="1" animBg="1"/>
      <p:bldP spid="20" grpId="2" animBg="1"/>
      <p:bldP spid="11" grpId="0" animBg="1"/>
      <p:bldP spid="11" grpId="1" animBg="1"/>
      <p:bldP spid="11" grpId="2" animBg="1"/>
      <p:bldP spid="21" grpId="0" animBg="1"/>
      <p:bldP spid="21" grpId="1" animBg="1"/>
      <p:bldP spid="21" grpId="2" animBg="1"/>
      <p:bldP spid="22" grpId="0" animBg="1"/>
      <p:bldP spid="22" grpId="1" animBg="1"/>
      <p:bldP spid="22" grpId="2" animBg="1"/>
      <p:bldP spid="23" grpId="0" animBg="1"/>
      <p:bldP spid="23" grpId="1" animBg="1"/>
      <p:bldP spid="23" grpId="2" animBg="1"/>
      <p:bldP spid="24" grpId="0" animBg="1"/>
      <p:bldP spid="24" grpId="1" animBg="1"/>
      <p:bldP spid="24" grpId="2" animBg="1"/>
      <p:bldP spid="25" grpId="0" animBg="1"/>
      <p:bldP spid="25" grpId="1" animBg="1"/>
      <p:bldP spid="25" grpId="2" animBg="1"/>
      <p:bldP spid="26" grpId="0" animBg="1"/>
      <p:bldP spid="26" grpId="1" animBg="1"/>
      <p:bldP spid="26" grpId="2"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liennummernplatzhalter 4"/>
          <p:cNvSpPr>
            <a:spLocks noGrp="1"/>
          </p:cNvSpPr>
          <p:nvPr>
            <p:ph type="sldNum" sz="quarter" idx="12"/>
          </p:nvPr>
        </p:nvSpPr>
        <p:spPr/>
        <p:txBody>
          <a:bodyPr/>
          <a:lstStyle/>
          <a:p>
            <a:fld id="{4AD1E780-DE1C-4ECA-B5E5-863D0BC53287}" type="slidenum">
              <a:rPr lang="en-US" smtClean="0">
                <a:solidFill>
                  <a:prstClr val="black">
                    <a:tint val="75000"/>
                  </a:prstClr>
                </a:solidFill>
              </a:rPr>
              <a:pPr/>
              <a:t>24</a:t>
            </a:fld>
            <a:endParaRPr lang="en-US" dirty="0">
              <a:solidFill>
                <a:prstClr val="black">
                  <a:tint val="75000"/>
                </a:prstClr>
              </a:solidFill>
            </a:endParaRPr>
          </a:p>
        </p:txBody>
      </p:sp>
      <p:sp>
        <p:nvSpPr>
          <p:cNvPr id="3" name="Textplatzhalter 2"/>
          <p:cNvSpPr>
            <a:spLocks noGrp="1"/>
          </p:cNvSpPr>
          <p:nvPr>
            <p:ph type="body" sz="quarter" idx="13"/>
          </p:nvPr>
        </p:nvSpPr>
        <p:spPr/>
        <p:txBody>
          <a:bodyPr/>
          <a:lstStyle/>
          <a:p>
            <a:r>
              <a:rPr lang="en-US" dirty="0" smtClean="0"/>
              <a:t>The way forward is crystal clear </a:t>
            </a:r>
            <a:endParaRPr lang="en-US" dirty="0"/>
          </a:p>
        </p:txBody>
      </p:sp>
      <p:sp>
        <p:nvSpPr>
          <p:cNvPr id="16" name="Inhaltsplatzhalter 2"/>
          <p:cNvSpPr txBox="1">
            <a:spLocks/>
          </p:cNvSpPr>
          <p:nvPr>
            <p:custDataLst>
              <p:tags r:id="rId1"/>
            </p:custDataLst>
          </p:nvPr>
        </p:nvSpPr>
        <p:spPr>
          <a:xfrm>
            <a:off x="1630363" y="1667804"/>
            <a:ext cx="5564625" cy="1841530"/>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266700" indent="-266700" algn="l" defTabSz="914400" rtl="0" eaLnBrk="1" latinLnBrk="0" hangingPunct="1">
              <a:spcBef>
                <a:spcPts val="200"/>
              </a:spcBef>
              <a:buClr>
                <a:schemeClr val="accent6"/>
              </a:buClr>
              <a:buFont typeface="Times New Roman" panose="02020603050405020304" pitchFamily="18" charset="0"/>
              <a:buChar char="─"/>
              <a:defRPr sz="1600" kern="1200">
                <a:solidFill>
                  <a:schemeClr val="tx2"/>
                </a:solidFill>
                <a:latin typeface="+mn-lt"/>
                <a:ea typeface="+mn-ea"/>
                <a:cs typeface="+mn-cs"/>
              </a:defRPr>
            </a:lvl2pPr>
            <a:lvl3pPr marL="466725" indent="-200025" algn="l" defTabSz="914400" rtl="0" eaLnBrk="1" latinLnBrk="0" hangingPunct="1">
              <a:spcBef>
                <a:spcPts val="200"/>
              </a:spcBef>
              <a:buClr>
                <a:schemeClr val="accent4"/>
              </a:buClr>
              <a:buFont typeface="Symbol" panose="05050102010706020507" pitchFamily="18" charset="2"/>
              <a:buChar char="-"/>
              <a:defRPr sz="1600" kern="1200">
                <a:solidFill>
                  <a:schemeClr val="tx2"/>
                </a:solidFill>
                <a:latin typeface="+mn-lt"/>
                <a:ea typeface="+mn-ea"/>
                <a:cs typeface="+mn-cs"/>
              </a:defRPr>
            </a:lvl3pPr>
            <a:lvl4pPr marL="641350" indent="-161925" algn="l" defTabSz="914400" rtl="0" eaLnBrk="1" latinLnBrk="0" hangingPunct="1">
              <a:spcBef>
                <a:spcPts val="200"/>
              </a:spcBef>
              <a:buClr>
                <a:schemeClr val="tx2"/>
              </a:buClr>
              <a:buFont typeface="Symbol" panose="05050102010706020507" pitchFamily="18" charset="2"/>
              <a:buChar char="-"/>
              <a:defRPr sz="1600" kern="1200">
                <a:solidFill>
                  <a:schemeClr val="tx2"/>
                </a:solidFill>
                <a:latin typeface="+mn-lt"/>
                <a:ea typeface="+mn-ea"/>
                <a:cs typeface="+mn-cs"/>
              </a:defRPr>
            </a:lvl4pPr>
            <a:lvl5pPr marL="808038" indent="-179388" algn="l" defTabSz="914400" rtl="0" eaLnBrk="1" latinLnBrk="0" hangingPunct="1">
              <a:spcBef>
                <a:spcPts val="200"/>
              </a:spcBef>
              <a:buClr>
                <a:schemeClr val="accent1"/>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800" i="1" dirty="0">
                <a:solidFill>
                  <a:schemeClr val="accent2"/>
                </a:solidFill>
              </a:rPr>
              <a:t>The </a:t>
            </a:r>
            <a:r>
              <a:rPr lang="en-US" sz="1800" b="1" i="1" dirty="0">
                <a:solidFill>
                  <a:schemeClr val="accent2"/>
                </a:solidFill>
              </a:rPr>
              <a:t>subscription based paywall system </a:t>
            </a:r>
            <a:r>
              <a:rPr lang="en-US" sz="1800" i="1" dirty="0" smtClean="0">
                <a:solidFill>
                  <a:schemeClr val="accent2"/>
                </a:solidFill>
              </a:rPr>
              <a:t>must be </a:t>
            </a:r>
            <a:r>
              <a:rPr lang="en-US" sz="1800" i="1" dirty="0">
                <a:solidFill>
                  <a:schemeClr val="accent2"/>
                </a:solidFill>
              </a:rPr>
              <a:t>overcome as radically and quickly as possible.</a:t>
            </a:r>
          </a:p>
          <a:p>
            <a:pPr>
              <a:spcBef>
                <a:spcPts val="1350"/>
              </a:spcBef>
            </a:pPr>
            <a:r>
              <a:rPr lang="en-US" sz="1800" dirty="0">
                <a:solidFill>
                  <a:schemeClr val="accent2"/>
                </a:solidFill>
              </a:rPr>
              <a:t>Open Access on a</a:t>
            </a:r>
            <a:r>
              <a:rPr lang="en-US" sz="1800" b="1" dirty="0">
                <a:solidFill>
                  <a:schemeClr val="accent2"/>
                </a:solidFill>
              </a:rPr>
              <a:t> large scale </a:t>
            </a:r>
            <a:r>
              <a:rPr lang="en-US" sz="1800" dirty="0">
                <a:solidFill>
                  <a:schemeClr val="accent2"/>
                </a:solidFill>
              </a:rPr>
              <a:t>can only be accomplished if and as soon as we </a:t>
            </a:r>
            <a:r>
              <a:rPr lang="en-US" sz="1800" b="1" dirty="0">
                <a:solidFill>
                  <a:schemeClr val="accent2"/>
                </a:solidFill>
              </a:rPr>
              <a:t>change the underlying business model</a:t>
            </a:r>
            <a:r>
              <a:rPr lang="en-US" sz="1800" dirty="0">
                <a:solidFill>
                  <a:schemeClr val="accent2"/>
                </a:solidFill>
              </a:rPr>
              <a:t> of today’s scholarly journals and </a:t>
            </a:r>
            <a:r>
              <a:rPr lang="en-US" sz="1800" b="1" dirty="0">
                <a:solidFill>
                  <a:schemeClr val="accent2"/>
                </a:solidFill>
              </a:rPr>
              <a:t>leave the subscription system</a:t>
            </a:r>
            <a:r>
              <a:rPr lang="en-US" sz="1800" dirty="0">
                <a:solidFill>
                  <a:schemeClr val="accent2"/>
                </a:solidFill>
              </a:rPr>
              <a:t> behind.</a:t>
            </a:r>
          </a:p>
        </p:txBody>
      </p:sp>
      <p:cxnSp>
        <p:nvCxnSpPr>
          <p:cNvPr id="17" name="Gerade Verbindung 16"/>
          <p:cNvCxnSpPr/>
          <p:nvPr/>
        </p:nvCxnSpPr>
        <p:spPr>
          <a:xfrm flipH="1">
            <a:off x="1506548" y="1504222"/>
            <a:ext cx="91954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124130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p:cNvPicPr>
            <a:picLocks noChangeAspect="1"/>
          </p:cNvPicPr>
          <p:nvPr/>
        </p:nvPicPr>
        <p:blipFill>
          <a:blip r:embed="rId3" cstate="print">
            <a:grayscl/>
            <a:extLst>
              <a:ext uri="{28A0092B-C50C-407E-A947-70E740481C1C}">
                <a14:useLocalDpi xmlns:a14="http://schemas.microsoft.com/office/drawing/2010/main" val="0"/>
              </a:ext>
            </a:extLst>
          </a:blip>
          <a:stretch>
            <a:fillRect/>
          </a:stretch>
        </p:blipFill>
        <p:spPr>
          <a:xfrm>
            <a:off x="6863825" y="952293"/>
            <a:ext cx="622825" cy="622825"/>
          </a:xfrm>
          <a:prstGeom prst="rect">
            <a:avLst/>
          </a:prstGeom>
        </p:spPr>
      </p:pic>
      <p:pic>
        <p:nvPicPr>
          <p:cNvPr id="26" name="Grafik 25"/>
          <p:cNvPicPr>
            <a:picLocks noChangeAspect="1"/>
          </p:cNvPicPr>
          <p:nvPr/>
        </p:nvPicPr>
        <p:blipFill>
          <a:blip r:embed="rId4" cstate="print">
            <a:grayscl/>
            <a:extLst>
              <a:ext uri="{28A0092B-C50C-407E-A947-70E740481C1C}">
                <a14:useLocalDpi xmlns:a14="http://schemas.microsoft.com/office/drawing/2010/main" val="0"/>
              </a:ext>
            </a:extLst>
          </a:blip>
          <a:stretch>
            <a:fillRect/>
          </a:stretch>
        </p:blipFill>
        <p:spPr>
          <a:xfrm>
            <a:off x="2168413" y="953209"/>
            <a:ext cx="614790" cy="614790"/>
          </a:xfrm>
          <a:prstGeom prst="rect">
            <a:avLst/>
          </a:prstGeom>
        </p:spPr>
      </p:pic>
      <p:sp>
        <p:nvSpPr>
          <p:cNvPr id="5" name="Foliennummernplatzhalter 4"/>
          <p:cNvSpPr>
            <a:spLocks noGrp="1"/>
          </p:cNvSpPr>
          <p:nvPr>
            <p:ph type="sldNum" sz="quarter" idx="12"/>
          </p:nvPr>
        </p:nvSpPr>
        <p:spPr/>
        <p:txBody>
          <a:bodyPr/>
          <a:lstStyle/>
          <a:p>
            <a:fld id="{4AD1E780-DE1C-4ECA-B5E5-863D0BC53287}" type="slidenum">
              <a:rPr lang="de-DE" smtClean="0"/>
              <a:pPr/>
              <a:t>25</a:t>
            </a:fld>
            <a:endParaRPr lang="de-DE" dirty="0"/>
          </a:p>
        </p:txBody>
      </p:sp>
      <p:sp>
        <p:nvSpPr>
          <p:cNvPr id="9" name="Textplatzhalter 8"/>
          <p:cNvSpPr>
            <a:spLocks noGrp="1"/>
          </p:cNvSpPr>
          <p:nvPr>
            <p:ph type="body" sz="quarter" idx="13"/>
          </p:nvPr>
        </p:nvSpPr>
        <p:spPr/>
        <p:txBody>
          <a:bodyPr/>
          <a:lstStyle/>
          <a:p>
            <a:r>
              <a:rPr lang="en-US" dirty="0"/>
              <a:t>The consequential shift yet to happen</a:t>
            </a:r>
          </a:p>
        </p:txBody>
      </p:sp>
      <p:sp>
        <p:nvSpPr>
          <p:cNvPr id="21" name="Inhaltsplatzhalter 8"/>
          <p:cNvSpPr txBox="1">
            <a:spLocks/>
          </p:cNvSpPr>
          <p:nvPr/>
        </p:nvSpPr>
        <p:spPr>
          <a:xfrm>
            <a:off x="302602" y="1227453"/>
            <a:ext cx="3420208" cy="261610"/>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00" b="1" dirty="0"/>
              <a:t>Paywall regime</a:t>
            </a:r>
            <a:endParaRPr lang="en-US" sz="1700" i="1" dirty="0"/>
          </a:p>
        </p:txBody>
      </p:sp>
      <p:sp>
        <p:nvSpPr>
          <p:cNvPr id="23" name="Inhaltsplatzhalter 8"/>
          <p:cNvSpPr txBox="1">
            <a:spLocks/>
          </p:cNvSpPr>
          <p:nvPr/>
        </p:nvSpPr>
        <p:spPr>
          <a:xfrm>
            <a:off x="4874617" y="1227453"/>
            <a:ext cx="3420208" cy="261610"/>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700" b="1" dirty="0">
                <a:solidFill>
                  <a:schemeClr val="accent6"/>
                </a:solidFill>
              </a:rPr>
              <a:t>Open Access</a:t>
            </a:r>
            <a:endParaRPr lang="en-US" sz="1700" i="1" dirty="0">
              <a:solidFill>
                <a:schemeClr val="accent6"/>
              </a:solidFill>
            </a:endParaRPr>
          </a:p>
        </p:txBody>
      </p:sp>
      <p:sp>
        <p:nvSpPr>
          <p:cNvPr id="28" name="Textfeld 27"/>
          <p:cNvSpPr txBox="1"/>
          <p:nvPr/>
        </p:nvSpPr>
        <p:spPr>
          <a:xfrm>
            <a:off x="390540" y="4311270"/>
            <a:ext cx="8173168" cy="647106"/>
          </a:xfrm>
          <a:prstGeom prst="rect">
            <a:avLst/>
          </a:prstGeom>
          <a:solidFill>
            <a:schemeClr val="bg1"/>
          </a:solidFill>
          <a:ln w="12700">
            <a:solidFill>
              <a:schemeClr val="accent4"/>
            </a:solidFill>
          </a:ln>
        </p:spPr>
        <p:txBody>
          <a:bodyPr wrap="square" lIns="61344" tIns="61344" rIns="61344" bIns="61344" rtlCol="0">
            <a:spAutoFit/>
          </a:bodyPr>
          <a:lstStyle>
            <a:defPPr>
              <a:defRPr lang="de-DE"/>
            </a:defPPr>
            <a:lvl1pPr algn="ctr">
              <a:defRPr i="1">
                <a:solidFill>
                  <a:schemeClr val="bg1"/>
                </a:solidFill>
              </a:defRPr>
            </a:lvl1pPr>
          </a:lstStyle>
          <a:p>
            <a:r>
              <a:rPr lang="en-US" sz="1700" b="1" i="0" dirty="0">
                <a:solidFill>
                  <a:schemeClr val="tx2"/>
                </a:solidFill>
              </a:rPr>
              <a:t>The </a:t>
            </a:r>
            <a:r>
              <a:rPr lang="en-US" sz="1700" b="1" i="0" dirty="0" smtClean="0">
                <a:solidFill>
                  <a:schemeClr val="tx2"/>
                </a:solidFill>
              </a:rPr>
              <a:t>revenue stream must be shifted, </a:t>
            </a:r>
            <a:r>
              <a:rPr lang="en-US" sz="1700" b="1" i="0" dirty="0">
                <a:solidFill>
                  <a:schemeClr val="tx2"/>
                </a:solidFill>
              </a:rPr>
              <a:t/>
            </a:r>
            <a:br>
              <a:rPr lang="en-US" sz="1700" b="1" i="0" dirty="0">
                <a:solidFill>
                  <a:schemeClr val="tx2"/>
                </a:solidFill>
              </a:rPr>
            </a:br>
            <a:r>
              <a:rPr lang="en-US" sz="1700" b="1" i="0" dirty="0" smtClean="0">
                <a:solidFill>
                  <a:schemeClr val="tx2"/>
                </a:solidFill>
              </a:rPr>
              <a:t>and journals change to </a:t>
            </a:r>
            <a:r>
              <a:rPr lang="en-US" sz="1700" b="1" i="0" dirty="0">
                <a:solidFill>
                  <a:schemeClr val="tx2"/>
                </a:solidFill>
              </a:rPr>
              <a:t>a truly open </a:t>
            </a:r>
            <a:r>
              <a:rPr lang="en-US" sz="1700" b="1" i="0" dirty="0" smtClean="0">
                <a:solidFill>
                  <a:schemeClr val="tx2"/>
                </a:solidFill>
              </a:rPr>
              <a:t>publishing model</a:t>
            </a:r>
            <a:r>
              <a:rPr lang="en-US" sz="1700" b="1" i="0" dirty="0">
                <a:solidFill>
                  <a:schemeClr val="tx2"/>
                </a:solidFill>
              </a:rPr>
              <a:t>.</a:t>
            </a:r>
            <a:endParaRPr lang="en-US" sz="1700" b="1" dirty="0">
              <a:solidFill>
                <a:schemeClr val="accent6"/>
              </a:solidFill>
            </a:endParaRPr>
          </a:p>
        </p:txBody>
      </p:sp>
      <p:cxnSp>
        <p:nvCxnSpPr>
          <p:cNvPr id="64" name="Gerade Verbindung 63"/>
          <p:cNvCxnSpPr/>
          <p:nvPr/>
        </p:nvCxnSpPr>
        <p:spPr>
          <a:xfrm>
            <a:off x="4874619" y="1528763"/>
            <a:ext cx="368909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Rechteck 26"/>
          <p:cNvSpPr/>
          <p:nvPr/>
        </p:nvSpPr>
        <p:spPr>
          <a:xfrm>
            <a:off x="3589051" y="1551921"/>
            <a:ext cx="1984442" cy="20521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9" name="Gleichschenkliges Dreieck 28"/>
          <p:cNvSpPr/>
          <p:nvPr/>
        </p:nvSpPr>
        <p:spPr>
          <a:xfrm>
            <a:off x="4459018" y="2639256"/>
            <a:ext cx="244509" cy="139991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30" name="Gruppieren 29"/>
          <p:cNvGrpSpPr/>
          <p:nvPr/>
        </p:nvGrpSpPr>
        <p:grpSpPr>
          <a:xfrm rot="21353659">
            <a:off x="2350238" y="1843504"/>
            <a:ext cx="4146461" cy="2088010"/>
            <a:chOff x="2666936" y="3282578"/>
            <a:chExt cx="3347884" cy="1685875"/>
          </a:xfrm>
        </p:grpSpPr>
        <p:cxnSp>
          <p:nvCxnSpPr>
            <p:cNvPr id="31" name="Gerade Verbindung 30"/>
            <p:cNvCxnSpPr/>
            <p:nvPr/>
          </p:nvCxnSpPr>
          <p:spPr>
            <a:xfrm flipV="1">
              <a:off x="2988427" y="3835535"/>
              <a:ext cx="2782214" cy="110240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32" name="Akkord 31"/>
            <p:cNvSpPr/>
            <p:nvPr/>
          </p:nvSpPr>
          <p:spPr>
            <a:xfrm rot="15021886">
              <a:off x="5411796" y="3269376"/>
              <a:ext cx="589822" cy="616226"/>
            </a:xfrm>
            <a:prstGeom prst="chord">
              <a:avLst>
                <a:gd name="adj1" fmla="val 5403391"/>
                <a:gd name="adj2" fmla="val 16200000"/>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33" name="Akkord 32"/>
            <p:cNvSpPr/>
            <p:nvPr/>
          </p:nvSpPr>
          <p:spPr>
            <a:xfrm rot="15021886">
              <a:off x="2680138" y="4365429"/>
              <a:ext cx="589822" cy="616226"/>
            </a:xfrm>
            <a:prstGeom prst="chord">
              <a:avLst>
                <a:gd name="adj1" fmla="val 5403391"/>
                <a:gd name="adj2" fmla="val 16200000"/>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sp>
        <p:nvSpPr>
          <p:cNvPr id="34" name="Ellipse 33"/>
          <p:cNvSpPr/>
          <p:nvPr/>
        </p:nvSpPr>
        <p:spPr>
          <a:xfrm>
            <a:off x="4470483" y="3048488"/>
            <a:ext cx="221578" cy="231698"/>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grpSp>
        <p:nvGrpSpPr>
          <p:cNvPr id="35" name="Gruppieren 34"/>
          <p:cNvGrpSpPr/>
          <p:nvPr/>
        </p:nvGrpSpPr>
        <p:grpSpPr>
          <a:xfrm>
            <a:off x="2089889" y="2797413"/>
            <a:ext cx="1632921" cy="1083600"/>
            <a:chOff x="491316" y="3557873"/>
            <a:chExt cx="1318433" cy="874907"/>
          </a:xfrm>
        </p:grpSpPr>
        <p:sp>
          <p:nvSpPr>
            <p:cNvPr id="37" name="Textfeld 36"/>
            <p:cNvSpPr txBox="1"/>
            <p:nvPr/>
          </p:nvSpPr>
          <p:spPr>
            <a:xfrm>
              <a:off x="491316" y="3557873"/>
              <a:ext cx="1318433" cy="584775"/>
            </a:xfrm>
            <a:prstGeom prst="rect">
              <a:avLst/>
            </a:prstGeom>
            <a:noFill/>
            <a:ln w="12700">
              <a:noFill/>
            </a:ln>
          </p:spPr>
          <p:txBody>
            <a:bodyPr wrap="square" rtlCol="0">
              <a:spAutoFit/>
            </a:bodyPr>
            <a:lstStyle/>
            <a:p>
              <a:r>
                <a:rPr lang="en-US" sz="1600" b="1" i="1" dirty="0" smtClean="0">
                  <a:solidFill>
                    <a:schemeClr val="accent6"/>
                  </a:solidFill>
                </a:rPr>
                <a:t>$10bn</a:t>
              </a:r>
            </a:p>
            <a:p>
              <a:r>
                <a:rPr lang="en-US" sz="1600" b="1" i="1" dirty="0" smtClean="0">
                  <a:solidFill>
                    <a:schemeClr val="accent6"/>
                  </a:solidFill>
                </a:rPr>
                <a:t>cash flow</a:t>
              </a:r>
              <a:endParaRPr lang="en-US" sz="1600" b="1" i="1" dirty="0">
                <a:solidFill>
                  <a:schemeClr val="accent6"/>
                </a:solidFill>
              </a:endParaRPr>
            </a:p>
          </p:txBody>
        </p:sp>
        <p:grpSp>
          <p:nvGrpSpPr>
            <p:cNvPr id="38" name="Gruppieren 37"/>
            <p:cNvGrpSpPr/>
            <p:nvPr/>
          </p:nvGrpSpPr>
          <p:grpSpPr>
            <a:xfrm>
              <a:off x="609494" y="4037196"/>
              <a:ext cx="1200254" cy="395584"/>
              <a:chOff x="4449687" y="4725634"/>
              <a:chExt cx="2083480" cy="800932"/>
            </a:xfrm>
          </p:grpSpPr>
          <p:pic>
            <p:nvPicPr>
              <p:cNvPr id="39" name="Grafik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54404" y="4725634"/>
                <a:ext cx="1378763" cy="730185"/>
              </a:xfrm>
              <a:prstGeom prst="rect">
                <a:avLst/>
              </a:prstGeom>
              <a:effectLst>
                <a:outerShdw blurRad="50800" dist="38100" dir="2700000" algn="tl" rotWithShape="0">
                  <a:prstClr val="black">
                    <a:alpha val="40000"/>
                  </a:prstClr>
                </a:outerShdw>
              </a:effectLst>
            </p:spPr>
          </p:pic>
          <p:pic>
            <p:nvPicPr>
              <p:cNvPr id="40" name="Grafik 3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21072779">
                <a:off x="4449687" y="4796381"/>
                <a:ext cx="1378763" cy="730185"/>
              </a:xfrm>
              <a:prstGeom prst="rect">
                <a:avLst/>
              </a:prstGeom>
              <a:effectLst>
                <a:outerShdw blurRad="50800" dist="38100" dir="2700000" algn="tl" rotWithShape="0">
                  <a:prstClr val="black">
                    <a:alpha val="40000"/>
                  </a:prstClr>
                </a:outerShdw>
              </a:effectLst>
            </p:spPr>
          </p:pic>
        </p:grpSp>
      </p:grpSp>
      <p:pic>
        <p:nvPicPr>
          <p:cNvPr id="41" name="Grafik 40"/>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162560" y="1670677"/>
            <a:ext cx="837423" cy="837423"/>
          </a:xfrm>
          <a:prstGeom prst="rect">
            <a:avLst/>
          </a:prstGeom>
        </p:spPr>
      </p:pic>
      <p:pic>
        <p:nvPicPr>
          <p:cNvPr id="42" name="Grafik 4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96867" y="2851222"/>
            <a:ext cx="854204" cy="854204"/>
          </a:xfrm>
          <a:prstGeom prst="rect">
            <a:avLst/>
          </a:prstGeom>
        </p:spPr>
      </p:pic>
      <p:cxnSp>
        <p:nvCxnSpPr>
          <p:cNvPr id="3" name="Gerade Verbindung 2"/>
          <p:cNvCxnSpPr/>
          <p:nvPr/>
        </p:nvCxnSpPr>
        <p:spPr>
          <a:xfrm>
            <a:off x="323867" y="1550194"/>
            <a:ext cx="368909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73675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fill="hold" nodeType="clickEffect">
                                  <p:stCondLst>
                                    <p:cond delay="200"/>
                                  </p:stCondLst>
                                  <p:childTnLst>
                                    <p:animRot by="3300000">
                                      <p:cBhvr>
                                        <p:cTn id="6" dur="3800" fill="hold"/>
                                        <p:tgtEl>
                                          <p:spTgt spid="30"/>
                                        </p:tgtEl>
                                        <p:attrNameLst>
                                          <p:attrName>r</p:attrName>
                                        </p:attrNameLst>
                                      </p:cBhvr>
                                    </p:animRot>
                                  </p:childTnLst>
                                </p:cTn>
                              </p:par>
                              <p:par>
                                <p:cTn id="7" presetID="37" presetClass="path" presetSubtype="0" accel="50000" decel="50000" fill="hold" nodeType="withEffect">
                                  <p:stCondLst>
                                    <p:cond delay="0"/>
                                  </p:stCondLst>
                                  <p:childTnLst>
                                    <p:animMotion origin="layout" path="M 5.55112E-17 4.44444E-6 L 0.06026 -0.10973 C 0.10689 -0.18612 0.15801 -0.19862 0.19359 -0.19862 C 0.23381 -0.19862 0.28798 -0.15973 0.32292 -0.09167 L 0.40481 0.05277 " pathEditMode="relative" rAng="0" ptsTypes="FffFF">
                                      <p:cBhvr>
                                        <p:cTn id="8" dur="4000" fill="hold"/>
                                        <p:tgtEl>
                                          <p:spTgt spid="35"/>
                                        </p:tgtEl>
                                        <p:attrNameLst>
                                          <p:attrName>ppt_x</p:attrName>
                                          <p:attrName>ppt_y</p:attrName>
                                        </p:attrNameLst>
                                      </p:cBhvr>
                                      <p:rCtr x="20240" y="-7292"/>
                                    </p:animMotion>
                                  </p:childTnLst>
                                </p:cTn>
                              </p:par>
                              <p:par>
                                <p:cTn id="9" presetID="42" presetClass="path" presetSubtype="0" accel="50000" decel="50000" fill="hold" nodeType="withEffect">
                                  <p:stCondLst>
                                    <p:cond delay="0"/>
                                  </p:stCondLst>
                                  <p:childTnLst>
                                    <p:animMotion origin="layout" path="M -3.58974E-6 -3.33333E-6 L 0.04295 0.00834 " pathEditMode="relative" rAng="0" ptsTypes="AA">
                                      <p:cBhvr>
                                        <p:cTn id="10" dur="3900" fill="hold"/>
                                        <p:tgtEl>
                                          <p:spTgt spid="30"/>
                                        </p:tgtEl>
                                        <p:attrNameLst>
                                          <p:attrName>ppt_x</p:attrName>
                                          <p:attrName>ppt_y</p:attrName>
                                        </p:attrNameLst>
                                      </p:cBhvr>
                                      <p:rCtr x="2147" y="417"/>
                                    </p:animMotion>
                                  </p:childTnLst>
                                </p:cTn>
                              </p:par>
                              <p:par>
                                <p:cTn id="11" presetID="37" presetClass="path" presetSubtype="0" accel="50000" decel="50000" fill="hold" nodeType="withEffect">
                                  <p:stCondLst>
                                    <p:cond delay="0"/>
                                  </p:stCondLst>
                                  <p:childTnLst>
                                    <p:animMotion origin="layout" path="M -0.00032 -0.00023 L 0.06811 -0.12824 C 0.08254 -0.15602 0.09504 -0.16806 0.1242 -0.19699 C 0.15706 -0.22963 0.23574 -0.23588 0.26363 -0.23171 L 0.34632 -0.23171 " pathEditMode="relative" rAng="0" ptsTypes="FffFF">
                                      <p:cBhvr>
                                        <p:cTn id="12" dur="2100" fill="hold"/>
                                        <p:tgtEl>
                                          <p:spTgt spid="42"/>
                                        </p:tgtEl>
                                        <p:attrNameLst>
                                          <p:attrName>ppt_x</p:attrName>
                                          <p:attrName>ppt_y</p:attrName>
                                        </p:attrNameLst>
                                      </p:cBhvr>
                                      <p:rCtr x="17324" y="-11782"/>
                                    </p:animMotion>
                                  </p:childTnLst>
                                </p:cTn>
                              </p:par>
                              <p:par>
                                <p:cTn id="13" presetID="10" presetClass="exit" presetSubtype="0" fill="hold" nodeType="withEffect">
                                  <p:stCondLst>
                                    <p:cond delay="1600"/>
                                  </p:stCondLst>
                                  <p:childTnLst>
                                    <p:animEffect transition="out" filter="fade">
                                      <p:cBhvr>
                                        <p:cTn id="14" dur="500"/>
                                        <p:tgtEl>
                                          <p:spTgt spid="42"/>
                                        </p:tgtEl>
                                      </p:cBhvr>
                                    </p:animEffect>
                                    <p:set>
                                      <p:cBhvr>
                                        <p:cTn id="15" dur="1" fill="hold">
                                          <p:stCondLst>
                                            <p:cond delay="499"/>
                                          </p:stCondLst>
                                        </p:cTn>
                                        <p:tgtEl>
                                          <p:spTgt spid="42"/>
                                        </p:tgtEl>
                                        <p:attrNameLst>
                                          <p:attrName>style.visibility</p:attrName>
                                        </p:attrNameLst>
                                      </p:cBhvr>
                                      <p:to>
                                        <p:strVal val="hidden"/>
                                      </p:to>
                                    </p:set>
                                  </p:childTnLst>
                                </p:cTn>
                              </p:par>
                              <p:par>
                                <p:cTn id="16" presetID="10" presetClass="entr" presetSubtype="0" fill="hold" nodeType="withEffect">
                                  <p:stCondLst>
                                    <p:cond delay="2100"/>
                                  </p:stCondLst>
                                  <p:childTnLst>
                                    <p:set>
                                      <p:cBhvr>
                                        <p:cTn id="17" dur="1" fill="hold">
                                          <p:stCondLst>
                                            <p:cond delay="0"/>
                                          </p:stCondLst>
                                        </p:cTn>
                                        <p:tgtEl>
                                          <p:spTgt spid="41"/>
                                        </p:tgtEl>
                                        <p:attrNameLst>
                                          <p:attrName>style.visibility</p:attrName>
                                        </p:attrNameLst>
                                      </p:cBhvr>
                                      <p:to>
                                        <p:strVal val="visible"/>
                                      </p:to>
                                    </p:set>
                                    <p:animEffect transition="in" filter="fade">
                                      <p:cBhvr>
                                        <p:cTn id="18" dur="500"/>
                                        <p:tgtEl>
                                          <p:spTgt spid="41"/>
                                        </p:tgtEl>
                                      </p:cBhvr>
                                    </p:animEffect>
                                  </p:childTnLst>
                                </p:cTn>
                              </p:par>
                              <p:par>
                                <p:cTn id="19" presetID="37" presetClass="path" presetSubtype="0" accel="50000" decel="50000" fill="hold" nodeType="withEffect">
                                  <p:stCondLst>
                                    <p:cond delay="2100"/>
                                  </p:stCondLst>
                                  <p:childTnLst>
                                    <p:animMotion origin="layout" path="M -0.00208 -0.00162 L 0.05657 -0.00024 C 0.11138 -0.00301 0.12709 -0.00024 0.15754 -0.00024 C 0.20754 0.00254 0.2633 0.06388 0.28254 0.08842 L 0.37484 0.19699 " pathEditMode="relative" rAng="0" ptsTypes="FffFF">
                                      <p:cBhvr>
                                        <p:cTn id="20" dur="1900" fill="hold"/>
                                        <p:tgtEl>
                                          <p:spTgt spid="41"/>
                                        </p:tgtEl>
                                        <p:attrNameLst>
                                          <p:attrName>ppt_x</p:attrName>
                                          <p:attrName>ppt_y</p:attrName>
                                        </p:attrNameLst>
                                      </p:cBhvr>
                                      <p:rCtr x="18846" y="98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4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32863" y="983063"/>
            <a:ext cx="4987592" cy="4125375"/>
          </a:xfrm>
          <a:prstGeom prst="rect">
            <a:avLst/>
          </a:prstGeom>
          <a:noFill/>
          <a:ln w="9525">
            <a:solidFill>
              <a:schemeClr val="accent1"/>
            </a:solidFill>
            <a:miter lim="800000"/>
            <a:headEnd/>
            <a:tailEnd/>
          </a:ln>
          <a:extLst>
            <a:ext uri="{909E8E84-426E-40DD-AFC4-6F175D3DCCD1}">
              <a14:hiddenFill xmlns:a14="http://schemas.microsoft.com/office/drawing/2010/main">
                <a:solidFill>
                  <a:schemeClr val="accent1"/>
                </a:solidFill>
              </a14:hiddenFill>
            </a:ext>
          </a:extLst>
        </p:spPr>
      </p:pic>
      <p:sp>
        <p:nvSpPr>
          <p:cNvPr id="2" name="Textplatzhalter 1"/>
          <p:cNvSpPr>
            <a:spLocks noGrp="1"/>
          </p:cNvSpPr>
          <p:nvPr>
            <p:ph type="body" sz="quarter" idx="13"/>
          </p:nvPr>
        </p:nvSpPr>
        <p:spPr/>
        <p:txBody>
          <a:bodyPr/>
          <a:lstStyle/>
          <a:p>
            <a:r>
              <a:rPr lang="en-GB" dirty="0" smtClean="0"/>
              <a:t>Open Access 2020 Initiative</a:t>
            </a:r>
            <a:endParaRPr lang="de-DE" dirty="0"/>
          </a:p>
        </p:txBody>
      </p:sp>
      <p:sp>
        <p:nvSpPr>
          <p:cNvPr id="5" name="Inhaltsplatzhalter 4"/>
          <p:cNvSpPr>
            <a:spLocks noGrp="1"/>
          </p:cNvSpPr>
          <p:nvPr>
            <p:ph idx="1"/>
          </p:nvPr>
        </p:nvSpPr>
        <p:spPr>
          <a:xfrm>
            <a:off x="279085" y="983063"/>
            <a:ext cx="7053570" cy="456535"/>
          </a:xfrm>
        </p:spPr>
        <p:txBody>
          <a:bodyPr/>
          <a:lstStyle/>
          <a:p>
            <a:endParaRPr lang="de-DE" b="1" dirty="0" smtClean="0">
              <a:solidFill>
                <a:schemeClr val="accent6"/>
              </a:solidFill>
            </a:endParaRPr>
          </a:p>
          <a:p>
            <a:r>
              <a:rPr lang="de-DE" b="1" dirty="0" smtClean="0">
                <a:solidFill>
                  <a:schemeClr val="accent6"/>
                </a:solidFill>
              </a:rPr>
              <a:t>https://oa2020.org</a:t>
            </a:r>
            <a:endParaRPr lang="de-DE" b="1" dirty="0">
              <a:solidFill>
                <a:schemeClr val="accent6"/>
              </a:solidFill>
            </a:endParaRPr>
          </a:p>
        </p:txBody>
      </p:sp>
    </p:spTree>
    <p:extLst>
      <p:ext uri="{BB962C8B-B14F-4D97-AF65-F5344CB8AC3E}">
        <p14:creationId xmlns:p14="http://schemas.microsoft.com/office/powerpoint/2010/main" val="743543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857250" y="4143375"/>
            <a:ext cx="7429500" cy="10001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grpSp>
        <p:nvGrpSpPr>
          <p:cNvPr id="39" name="Gruppieren 38"/>
          <p:cNvGrpSpPr/>
          <p:nvPr/>
        </p:nvGrpSpPr>
        <p:grpSpPr>
          <a:xfrm>
            <a:off x="4169543" y="2180934"/>
            <a:ext cx="2087547" cy="817474"/>
            <a:chOff x="4182085" y="3774606"/>
            <a:chExt cx="2783397" cy="1089965"/>
          </a:xfrm>
        </p:grpSpPr>
        <p:grpSp>
          <p:nvGrpSpPr>
            <p:cNvPr id="38" name="Gruppieren 37"/>
            <p:cNvGrpSpPr/>
            <p:nvPr/>
          </p:nvGrpSpPr>
          <p:grpSpPr>
            <a:xfrm>
              <a:off x="4528109" y="3774606"/>
              <a:ext cx="2437373" cy="1089965"/>
              <a:chOff x="4528109" y="3774606"/>
              <a:chExt cx="2437373" cy="1089965"/>
            </a:xfrm>
          </p:grpSpPr>
          <p:sp>
            <p:nvSpPr>
              <p:cNvPr id="31" name="Freihandform 30"/>
              <p:cNvSpPr/>
              <p:nvPr/>
            </p:nvSpPr>
            <p:spPr>
              <a:xfrm flipH="1">
                <a:off x="5501011" y="4264095"/>
                <a:ext cx="1459706" cy="469104"/>
              </a:xfrm>
              <a:custGeom>
                <a:avLst/>
                <a:gdLst>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333375 w 1388269"/>
                  <a:gd name="connsiteY4" fmla="*/ 190500 h 433388"/>
                  <a:gd name="connsiteX5" fmla="*/ 316706 w 1388269"/>
                  <a:gd name="connsiteY5" fmla="*/ 214313 h 433388"/>
                  <a:gd name="connsiteX6" fmla="*/ 207169 w 1388269"/>
                  <a:gd name="connsiteY6" fmla="*/ 342900 h 433388"/>
                  <a:gd name="connsiteX7" fmla="*/ 188119 w 1388269"/>
                  <a:gd name="connsiteY7" fmla="*/ 357188 h 433388"/>
                  <a:gd name="connsiteX8" fmla="*/ 173831 w 1388269"/>
                  <a:gd name="connsiteY8" fmla="*/ 366713 h 433388"/>
                  <a:gd name="connsiteX9" fmla="*/ 0 w 1388269"/>
                  <a:gd name="connsiteY9"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333375 w 1388269"/>
                  <a:gd name="connsiteY4" fmla="*/ 190500 h 433388"/>
                  <a:gd name="connsiteX5" fmla="*/ 316706 w 1388269"/>
                  <a:gd name="connsiteY5" fmla="*/ 214313 h 433388"/>
                  <a:gd name="connsiteX6" fmla="*/ 207169 w 1388269"/>
                  <a:gd name="connsiteY6" fmla="*/ 342900 h 433388"/>
                  <a:gd name="connsiteX7" fmla="*/ 188119 w 1388269"/>
                  <a:gd name="connsiteY7" fmla="*/ 357188 h 433388"/>
                  <a:gd name="connsiteX8" fmla="*/ 173831 w 1388269"/>
                  <a:gd name="connsiteY8" fmla="*/ 366713 h 433388"/>
                  <a:gd name="connsiteX9" fmla="*/ 0 w 1388269"/>
                  <a:gd name="connsiteY9"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333375 w 1388269"/>
                  <a:gd name="connsiteY4" fmla="*/ 190500 h 433388"/>
                  <a:gd name="connsiteX5" fmla="*/ 316706 w 1388269"/>
                  <a:gd name="connsiteY5" fmla="*/ 214313 h 433388"/>
                  <a:gd name="connsiteX6" fmla="*/ 207169 w 1388269"/>
                  <a:gd name="connsiteY6" fmla="*/ 342900 h 433388"/>
                  <a:gd name="connsiteX7" fmla="*/ 188119 w 1388269"/>
                  <a:gd name="connsiteY7" fmla="*/ 357188 h 433388"/>
                  <a:gd name="connsiteX8" fmla="*/ 173831 w 1388269"/>
                  <a:gd name="connsiteY8" fmla="*/ 366713 h 433388"/>
                  <a:gd name="connsiteX9" fmla="*/ 0 w 1388269"/>
                  <a:gd name="connsiteY9"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316706 w 1388269"/>
                  <a:gd name="connsiteY4" fmla="*/ 214313 h 433388"/>
                  <a:gd name="connsiteX5" fmla="*/ 207169 w 1388269"/>
                  <a:gd name="connsiteY5" fmla="*/ 342900 h 433388"/>
                  <a:gd name="connsiteX6" fmla="*/ 188119 w 1388269"/>
                  <a:gd name="connsiteY6" fmla="*/ 357188 h 433388"/>
                  <a:gd name="connsiteX7" fmla="*/ 173831 w 1388269"/>
                  <a:gd name="connsiteY7" fmla="*/ 366713 h 433388"/>
                  <a:gd name="connsiteX8" fmla="*/ 0 w 1388269"/>
                  <a:gd name="connsiteY8"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207169 w 1388269"/>
                  <a:gd name="connsiteY4" fmla="*/ 342900 h 433388"/>
                  <a:gd name="connsiteX5" fmla="*/ 188119 w 1388269"/>
                  <a:gd name="connsiteY5" fmla="*/ 357188 h 433388"/>
                  <a:gd name="connsiteX6" fmla="*/ 173831 w 1388269"/>
                  <a:gd name="connsiteY6" fmla="*/ 366713 h 433388"/>
                  <a:gd name="connsiteX7" fmla="*/ 0 w 1388269"/>
                  <a:gd name="connsiteY7"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207169 w 1388269"/>
                  <a:gd name="connsiteY4" fmla="*/ 342900 h 433388"/>
                  <a:gd name="connsiteX5" fmla="*/ 173831 w 1388269"/>
                  <a:gd name="connsiteY5" fmla="*/ 366713 h 433388"/>
                  <a:gd name="connsiteX6" fmla="*/ 0 w 1388269"/>
                  <a:gd name="connsiteY6"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207169 w 1388269"/>
                  <a:gd name="connsiteY4" fmla="*/ 342900 h 433388"/>
                  <a:gd name="connsiteX5" fmla="*/ 0 w 1388269"/>
                  <a:gd name="connsiteY5"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207169 w 1388269"/>
                  <a:gd name="connsiteY4" fmla="*/ 342900 h 433388"/>
                  <a:gd name="connsiteX5" fmla="*/ 0 w 1388269"/>
                  <a:gd name="connsiteY5"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30994 w 1388269"/>
                  <a:gd name="connsiteY3" fmla="*/ 207169 h 433388"/>
                  <a:gd name="connsiteX4" fmla="*/ 207169 w 1388269"/>
                  <a:gd name="connsiteY4" fmla="*/ 342900 h 433388"/>
                  <a:gd name="connsiteX5" fmla="*/ 0 w 1388269"/>
                  <a:gd name="connsiteY5"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30994 w 1388269"/>
                  <a:gd name="connsiteY3" fmla="*/ 207169 h 433388"/>
                  <a:gd name="connsiteX4" fmla="*/ 207169 w 1388269"/>
                  <a:gd name="connsiteY4" fmla="*/ 342900 h 433388"/>
                  <a:gd name="connsiteX5" fmla="*/ 0 w 1388269"/>
                  <a:gd name="connsiteY5" fmla="*/ 433388 h 433388"/>
                  <a:gd name="connsiteX0" fmla="*/ 1466850 w 1466850"/>
                  <a:gd name="connsiteY0" fmla="*/ 0 h 457200"/>
                  <a:gd name="connsiteX1" fmla="*/ 847725 w 1466850"/>
                  <a:gd name="connsiteY1" fmla="*/ 2382 h 457200"/>
                  <a:gd name="connsiteX2" fmla="*/ 569118 w 1466850"/>
                  <a:gd name="connsiteY2" fmla="*/ 64294 h 457200"/>
                  <a:gd name="connsiteX3" fmla="*/ 409575 w 1466850"/>
                  <a:gd name="connsiteY3" fmla="*/ 207169 h 457200"/>
                  <a:gd name="connsiteX4" fmla="*/ 285750 w 1466850"/>
                  <a:gd name="connsiteY4" fmla="*/ 342900 h 457200"/>
                  <a:gd name="connsiteX5" fmla="*/ 0 w 1466850"/>
                  <a:gd name="connsiteY5" fmla="*/ 457200 h 457200"/>
                  <a:gd name="connsiteX0" fmla="*/ 1466850 w 1466850"/>
                  <a:gd name="connsiteY0" fmla="*/ 0 h 457200"/>
                  <a:gd name="connsiteX1" fmla="*/ 847725 w 1466850"/>
                  <a:gd name="connsiteY1" fmla="*/ 2382 h 457200"/>
                  <a:gd name="connsiteX2" fmla="*/ 569118 w 1466850"/>
                  <a:gd name="connsiteY2" fmla="*/ 64294 h 457200"/>
                  <a:gd name="connsiteX3" fmla="*/ 409575 w 1466850"/>
                  <a:gd name="connsiteY3" fmla="*/ 207169 h 457200"/>
                  <a:gd name="connsiteX4" fmla="*/ 285750 w 1466850"/>
                  <a:gd name="connsiteY4" fmla="*/ 342900 h 457200"/>
                  <a:gd name="connsiteX5" fmla="*/ 0 w 1466850"/>
                  <a:gd name="connsiteY5" fmla="*/ 457200 h 457200"/>
                  <a:gd name="connsiteX0" fmla="*/ 1466850 w 1466850"/>
                  <a:gd name="connsiteY0" fmla="*/ 0 h 457200"/>
                  <a:gd name="connsiteX1" fmla="*/ 847725 w 1466850"/>
                  <a:gd name="connsiteY1" fmla="*/ 2382 h 457200"/>
                  <a:gd name="connsiteX2" fmla="*/ 581025 w 1466850"/>
                  <a:gd name="connsiteY2" fmla="*/ 59531 h 457200"/>
                  <a:gd name="connsiteX3" fmla="*/ 409575 w 1466850"/>
                  <a:gd name="connsiteY3" fmla="*/ 207169 h 457200"/>
                  <a:gd name="connsiteX4" fmla="*/ 285750 w 1466850"/>
                  <a:gd name="connsiteY4" fmla="*/ 342900 h 457200"/>
                  <a:gd name="connsiteX5" fmla="*/ 0 w 1466850"/>
                  <a:gd name="connsiteY5" fmla="*/ 457200 h 457200"/>
                  <a:gd name="connsiteX0" fmla="*/ 1462087 w 1462087"/>
                  <a:gd name="connsiteY0" fmla="*/ 0 h 445293"/>
                  <a:gd name="connsiteX1" fmla="*/ 842962 w 1462087"/>
                  <a:gd name="connsiteY1" fmla="*/ 2382 h 445293"/>
                  <a:gd name="connsiteX2" fmla="*/ 576262 w 1462087"/>
                  <a:gd name="connsiteY2" fmla="*/ 59531 h 445293"/>
                  <a:gd name="connsiteX3" fmla="*/ 404812 w 1462087"/>
                  <a:gd name="connsiteY3" fmla="*/ 207169 h 445293"/>
                  <a:gd name="connsiteX4" fmla="*/ 280987 w 1462087"/>
                  <a:gd name="connsiteY4" fmla="*/ 342900 h 445293"/>
                  <a:gd name="connsiteX5" fmla="*/ 0 w 1462087"/>
                  <a:gd name="connsiteY5" fmla="*/ 445293 h 445293"/>
                  <a:gd name="connsiteX0" fmla="*/ 1462087 w 1462087"/>
                  <a:gd name="connsiteY0" fmla="*/ 0 h 445293"/>
                  <a:gd name="connsiteX1" fmla="*/ 842962 w 1462087"/>
                  <a:gd name="connsiteY1" fmla="*/ 2382 h 445293"/>
                  <a:gd name="connsiteX2" fmla="*/ 576262 w 1462087"/>
                  <a:gd name="connsiteY2" fmla="*/ 59531 h 445293"/>
                  <a:gd name="connsiteX3" fmla="*/ 404812 w 1462087"/>
                  <a:gd name="connsiteY3" fmla="*/ 207169 h 445293"/>
                  <a:gd name="connsiteX4" fmla="*/ 280987 w 1462087"/>
                  <a:gd name="connsiteY4" fmla="*/ 342900 h 445293"/>
                  <a:gd name="connsiteX5" fmla="*/ 0 w 1462087"/>
                  <a:gd name="connsiteY5" fmla="*/ 445293 h 445293"/>
                  <a:gd name="connsiteX0" fmla="*/ 1462087 w 1462087"/>
                  <a:gd name="connsiteY0" fmla="*/ 0 h 445293"/>
                  <a:gd name="connsiteX1" fmla="*/ 842962 w 1462087"/>
                  <a:gd name="connsiteY1" fmla="*/ 2382 h 445293"/>
                  <a:gd name="connsiteX2" fmla="*/ 576262 w 1462087"/>
                  <a:gd name="connsiteY2" fmla="*/ 59531 h 445293"/>
                  <a:gd name="connsiteX3" fmla="*/ 404812 w 1462087"/>
                  <a:gd name="connsiteY3" fmla="*/ 207169 h 445293"/>
                  <a:gd name="connsiteX4" fmla="*/ 235743 w 1462087"/>
                  <a:gd name="connsiteY4" fmla="*/ 361950 h 445293"/>
                  <a:gd name="connsiteX5" fmla="*/ 0 w 1462087"/>
                  <a:gd name="connsiteY5" fmla="*/ 445293 h 445293"/>
                  <a:gd name="connsiteX0" fmla="*/ 1462087 w 1462087"/>
                  <a:gd name="connsiteY0" fmla="*/ 0 h 445293"/>
                  <a:gd name="connsiteX1" fmla="*/ 842962 w 1462087"/>
                  <a:gd name="connsiteY1" fmla="*/ 2382 h 445293"/>
                  <a:gd name="connsiteX2" fmla="*/ 576262 w 1462087"/>
                  <a:gd name="connsiteY2" fmla="*/ 59531 h 445293"/>
                  <a:gd name="connsiteX3" fmla="*/ 385762 w 1462087"/>
                  <a:gd name="connsiteY3" fmla="*/ 202406 h 445293"/>
                  <a:gd name="connsiteX4" fmla="*/ 235743 w 1462087"/>
                  <a:gd name="connsiteY4" fmla="*/ 361950 h 445293"/>
                  <a:gd name="connsiteX5" fmla="*/ 0 w 1462087"/>
                  <a:gd name="connsiteY5" fmla="*/ 445293 h 445293"/>
                  <a:gd name="connsiteX0" fmla="*/ 1462087 w 1462087"/>
                  <a:gd name="connsiteY0" fmla="*/ 0 h 445293"/>
                  <a:gd name="connsiteX1" fmla="*/ 842962 w 1462087"/>
                  <a:gd name="connsiteY1" fmla="*/ 2382 h 445293"/>
                  <a:gd name="connsiteX2" fmla="*/ 550068 w 1462087"/>
                  <a:gd name="connsiteY2" fmla="*/ 57150 h 445293"/>
                  <a:gd name="connsiteX3" fmla="*/ 385762 w 1462087"/>
                  <a:gd name="connsiteY3" fmla="*/ 202406 h 445293"/>
                  <a:gd name="connsiteX4" fmla="*/ 235743 w 1462087"/>
                  <a:gd name="connsiteY4" fmla="*/ 361950 h 445293"/>
                  <a:gd name="connsiteX5" fmla="*/ 0 w 1462087"/>
                  <a:gd name="connsiteY5" fmla="*/ 445293 h 445293"/>
                  <a:gd name="connsiteX0" fmla="*/ 1462087 w 1462087"/>
                  <a:gd name="connsiteY0" fmla="*/ 0 h 454818"/>
                  <a:gd name="connsiteX1" fmla="*/ 842962 w 1462087"/>
                  <a:gd name="connsiteY1" fmla="*/ 11907 h 454818"/>
                  <a:gd name="connsiteX2" fmla="*/ 550068 w 1462087"/>
                  <a:gd name="connsiteY2" fmla="*/ 66675 h 454818"/>
                  <a:gd name="connsiteX3" fmla="*/ 385762 w 1462087"/>
                  <a:gd name="connsiteY3" fmla="*/ 211931 h 454818"/>
                  <a:gd name="connsiteX4" fmla="*/ 235743 w 1462087"/>
                  <a:gd name="connsiteY4" fmla="*/ 371475 h 454818"/>
                  <a:gd name="connsiteX5" fmla="*/ 0 w 1462087"/>
                  <a:gd name="connsiteY5" fmla="*/ 454818 h 454818"/>
                  <a:gd name="connsiteX0" fmla="*/ 1462087 w 1462087"/>
                  <a:gd name="connsiteY0" fmla="*/ 0 h 454818"/>
                  <a:gd name="connsiteX1" fmla="*/ 842962 w 1462087"/>
                  <a:gd name="connsiteY1" fmla="*/ 2382 h 454818"/>
                  <a:gd name="connsiteX2" fmla="*/ 550068 w 1462087"/>
                  <a:gd name="connsiteY2" fmla="*/ 66675 h 454818"/>
                  <a:gd name="connsiteX3" fmla="*/ 385762 w 1462087"/>
                  <a:gd name="connsiteY3" fmla="*/ 211931 h 454818"/>
                  <a:gd name="connsiteX4" fmla="*/ 235743 w 1462087"/>
                  <a:gd name="connsiteY4" fmla="*/ 371475 h 454818"/>
                  <a:gd name="connsiteX5" fmla="*/ 0 w 1462087"/>
                  <a:gd name="connsiteY5" fmla="*/ 454818 h 454818"/>
                  <a:gd name="connsiteX0" fmla="*/ 1462087 w 1462087"/>
                  <a:gd name="connsiteY0" fmla="*/ 2391 h 457209"/>
                  <a:gd name="connsiteX1" fmla="*/ 840581 w 1462087"/>
                  <a:gd name="connsiteY1" fmla="*/ 11 h 457209"/>
                  <a:gd name="connsiteX2" fmla="*/ 550068 w 1462087"/>
                  <a:gd name="connsiteY2" fmla="*/ 69066 h 457209"/>
                  <a:gd name="connsiteX3" fmla="*/ 385762 w 1462087"/>
                  <a:gd name="connsiteY3" fmla="*/ 214322 h 457209"/>
                  <a:gd name="connsiteX4" fmla="*/ 235743 w 1462087"/>
                  <a:gd name="connsiteY4" fmla="*/ 373866 h 457209"/>
                  <a:gd name="connsiteX5" fmla="*/ 0 w 1462087"/>
                  <a:gd name="connsiteY5" fmla="*/ 457209 h 457209"/>
                  <a:gd name="connsiteX0" fmla="*/ 1462087 w 1462087"/>
                  <a:gd name="connsiteY0" fmla="*/ 2394 h 457212"/>
                  <a:gd name="connsiteX1" fmla="*/ 840581 w 1462087"/>
                  <a:gd name="connsiteY1" fmla="*/ 14 h 457212"/>
                  <a:gd name="connsiteX2" fmla="*/ 535781 w 1462087"/>
                  <a:gd name="connsiteY2" fmla="*/ 61926 h 457212"/>
                  <a:gd name="connsiteX3" fmla="*/ 385762 w 1462087"/>
                  <a:gd name="connsiteY3" fmla="*/ 214325 h 457212"/>
                  <a:gd name="connsiteX4" fmla="*/ 235743 w 1462087"/>
                  <a:gd name="connsiteY4" fmla="*/ 373869 h 457212"/>
                  <a:gd name="connsiteX5" fmla="*/ 0 w 1462087"/>
                  <a:gd name="connsiteY5" fmla="*/ 457212 h 457212"/>
                  <a:gd name="connsiteX0" fmla="*/ 1462087 w 1462087"/>
                  <a:gd name="connsiteY0" fmla="*/ 2394 h 457212"/>
                  <a:gd name="connsiteX1" fmla="*/ 840581 w 1462087"/>
                  <a:gd name="connsiteY1" fmla="*/ 14 h 457212"/>
                  <a:gd name="connsiteX2" fmla="*/ 535781 w 1462087"/>
                  <a:gd name="connsiteY2" fmla="*/ 61926 h 457212"/>
                  <a:gd name="connsiteX3" fmla="*/ 361950 w 1462087"/>
                  <a:gd name="connsiteY3" fmla="*/ 211943 h 457212"/>
                  <a:gd name="connsiteX4" fmla="*/ 235743 w 1462087"/>
                  <a:gd name="connsiteY4" fmla="*/ 373869 h 457212"/>
                  <a:gd name="connsiteX5" fmla="*/ 0 w 1462087"/>
                  <a:gd name="connsiteY5" fmla="*/ 457212 h 457212"/>
                  <a:gd name="connsiteX0" fmla="*/ 1462087 w 1462087"/>
                  <a:gd name="connsiteY0" fmla="*/ 2394 h 457212"/>
                  <a:gd name="connsiteX1" fmla="*/ 840581 w 1462087"/>
                  <a:gd name="connsiteY1" fmla="*/ 14 h 457212"/>
                  <a:gd name="connsiteX2" fmla="*/ 535781 w 1462087"/>
                  <a:gd name="connsiteY2" fmla="*/ 61926 h 457212"/>
                  <a:gd name="connsiteX3" fmla="*/ 361950 w 1462087"/>
                  <a:gd name="connsiteY3" fmla="*/ 211943 h 457212"/>
                  <a:gd name="connsiteX4" fmla="*/ 221456 w 1462087"/>
                  <a:gd name="connsiteY4" fmla="*/ 366726 h 457212"/>
                  <a:gd name="connsiteX5" fmla="*/ 0 w 1462087"/>
                  <a:gd name="connsiteY5" fmla="*/ 457212 h 457212"/>
                  <a:gd name="connsiteX0" fmla="*/ 1462087 w 1462087"/>
                  <a:gd name="connsiteY0" fmla="*/ 0 h 461961"/>
                  <a:gd name="connsiteX1" fmla="*/ 840581 w 1462087"/>
                  <a:gd name="connsiteY1" fmla="*/ 4763 h 461961"/>
                  <a:gd name="connsiteX2" fmla="*/ 535781 w 1462087"/>
                  <a:gd name="connsiteY2" fmla="*/ 66675 h 461961"/>
                  <a:gd name="connsiteX3" fmla="*/ 361950 w 1462087"/>
                  <a:gd name="connsiteY3" fmla="*/ 216692 h 461961"/>
                  <a:gd name="connsiteX4" fmla="*/ 221456 w 1462087"/>
                  <a:gd name="connsiteY4" fmla="*/ 371475 h 461961"/>
                  <a:gd name="connsiteX5" fmla="*/ 0 w 1462087"/>
                  <a:gd name="connsiteY5" fmla="*/ 461961 h 461961"/>
                  <a:gd name="connsiteX0" fmla="*/ 1462087 w 1462087"/>
                  <a:gd name="connsiteY0" fmla="*/ 2391 h 464352"/>
                  <a:gd name="connsiteX1" fmla="*/ 840581 w 1462087"/>
                  <a:gd name="connsiteY1" fmla="*/ 11 h 464352"/>
                  <a:gd name="connsiteX2" fmla="*/ 535781 w 1462087"/>
                  <a:gd name="connsiteY2" fmla="*/ 69066 h 464352"/>
                  <a:gd name="connsiteX3" fmla="*/ 361950 w 1462087"/>
                  <a:gd name="connsiteY3" fmla="*/ 219083 h 464352"/>
                  <a:gd name="connsiteX4" fmla="*/ 221456 w 1462087"/>
                  <a:gd name="connsiteY4" fmla="*/ 373866 h 464352"/>
                  <a:gd name="connsiteX5" fmla="*/ 0 w 1462087"/>
                  <a:gd name="connsiteY5" fmla="*/ 464352 h 464352"/>
                  <a:gd name="connsiteX0" fmla="*/ 1462087 w 1462087"/>
                  <a:gd name="connsiteY0" fmla="*/ 2391 h 464352"/>
                  <a:gd name="connsiteX1" fmla="*/ 840581 w 1462087"/>
                  <a:gd name="connsiteY1" fmla="*/ 11 h 464352"/>
                  <a:gd name="connsiteX2" fmla="*/ 535781 w 1462087"/>
                  <a:gd name="connsiteY2" fmla="*/ 69066 h 464352"/>
                  <a:gd name="connsiteX3" fmla="*/ 221456 w 1462087"/>
                  <a:gd name="connsiteY3" fmla="*/ 373866 h 464352"/>
                  <a:gd name="connsiteX4" fmla="*/ 0 w 1462087"/>
                  <a:gd name="connsiteY4" fmla="*/ 464352 h 464352"/>
                  <a:gd name="connsiteX0" fmla="*/ 1462087 w 1462087"/>
                  <a:gd name="connsiteY0" fmla="*/ 2391 h 464352"/>
                  <a:gd name="connsiteX1" fmla="*/ 840581 w 1462087"/>
                  <a:gd name="connsiteY1" fmla="*/ 11 h 464352"/>
                  <a:gd name="connsiteX2" fmla="*/ 492918 w 1462087"/>
                  <a:gd name="connsiteY2" fmla="*/ 73828 h 464352"/>
                  <a:gd name="connsiteX3" fmla="*/ 221456 w 1462087"/>
                  <a:gd name="connsiteY3" fmla="*/ 373866 h 464352"/>
                  <a:gd name="connsiteX4" fmla="*/ 0 w 1462087"/>
                  <a:gd name="connsiteY4" fmla="*/ 464352 h 464352"/>
                  <a:gd name="connsiteX0" fmla="*/ 1462087 w 1462087"/>
                  <a:gd name="connsiteY0" fmla="*/ 2380 h 464341"/>
                  <a:gd name="connsiteX1" fmla="*/ 840581 w 1462087"/>
                  <a:gd name="connsiteY1" fmla="*/ 0 h 464341"/>
                  <a:gd name="connsiteX2" fmla="*/ 492918 w 1462087"/>
                  <a:gd name="connsiteY2" fmla="*/ 73817 h 464341"/>
                  <a:gd name="connsiteX3" fmla="*/ 221456 w 1462087"/>
                  <a:gd name="connsiteY3" fmla="*/ 373855 h 464341"/>
                  <a:gd name="connsiteX4" fmla="*/ 0 w 1462087"/>
                  <a:gd name="connsiteY4" fmla="*/ 464341 h 464341"/>
                  <a:gd name="connsiteX0" fmla="*/ 1462087 w 1462087"/>
                  <a:gd name="connsiteY0" fmla="*/ 2380 h 464341"/>
                  <a:gd name="connsiteX1" fmla="*/ 840581 w 1462087"/>
                  <a:gd name="connsiteY1" fmla="*/ 0 h 464341"/>
                  <a:gd name="connsiteX2" fmla="*/ 492918 w 1462087"/>
                  <a:gd name="connsiteY2" fmla="*/ 73817 h 464341"/>
                  <a:gd name="connsiteX3" fmla="*/ 221456 w 1462087"/>
                  <a:gd name="connsiteY3" fmla="*/ 373855 h 464341"/>
                  <a:gd name="connsiteX4" fmla="*/ 0 w 1462087"/>
                  <a:gd name="connsiteY4" fmla="*/ 464341 h 464341"/>
                  <a:gd name="connsiteX0" fmla="*/ 1462087 w 1462087"/>
                  <a:gd name="connsiteY0" fmla="*/ 2380 h 464341"/>
                  <a:gd name="connsiteX1" fmla="*/ 840581 w 1462087"/>
                  <a:gd name="connsiteY1" fmla="*/ 0 h 464341"/>
                  <a:gd name="connsiteX2" fmla="*/ 483393 w 1462087"/>
                  <a:gd name="connsiteY2" fmla="*/ 90486 h 464341"/>
                  <a:gd name="connsiteX3" fmla="*/ 221456 w 1462087"/>
                  <a:gd name="connsiteY3" fmla="*/ 373855 h 464341"/>
                  <a:gd name="connsiteX4" fmla="*/ 0 w 1462087"/>
                  <a:gd name="connsiteY4" fmla="*/ 464341 h 464341"/>
                  <a:gd name="connsiteX0" fmla="*/ 1462087 w 1462087"/>
                  <a:gd name="connsiteY0" fmla="*/ 2380 h 464341"/>
                  <a:gd name="connsiteX1" fmla="*/ 840581 w 1462087"/>
                  <a:gd name="connsiteY1" fmla="*/ 0 h 464341"/>
                  <a:gd name="connsiteX2" fmla="*/ 483393 w 1462087"/>
                  <a:gd name="connsiteY2" fmla="*/ 90486 h 464341"/>
                  <a:gd name="connsiteX3" fmla="*/ 221456 w 1462087"/>
                  <a:gd name="connsiteY3" fmla="*/ 373855 h 464341"/>
                  <a:gd name="connsiteX4" fmla="*/ 0 w 1462087"/>
                  <a:gd name="connsiteY4" fmla="*/ 464341 h 464341"/>
                  <a:gd name="connsiteX0" fmla="*/ 1459706 w 1459706"/>
                  <a:gd name="connsiteY0" fmla="*/ 0 h 469104"/>
                  <a:gd name="connsiteX1" fmla="*/ 840581 w 1459706"/>
                  <a:gd name="connsiteY1" fmla="*/ 4763 h 469104"/>
                  <a:gd name="connsiteX2" fmla="*/ 483393 w 1459706"/>
                  <a:gd name="connsiteY2" fmla="*/ 95249 h 469104"/>
                  <a:gd name="connsiteX3" fmla="*/ 221456 w 1459706"/>
                  <a:gd name="connsiteY3" fmla="*/ 378618 h 469104"/>
                  <a:gd name="connsiteX4" fmla="*/ 0 w 1459706"/>
                  <a:gd name="connsiteY4" fmla="*/ 469104 h 4691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59706" h="469104">
                    <a:moveTo>
                      <a:pt x="1459706" y="0"/>
                    </a:moveTo>
                    <a:lnTo>
                      <a:pt x="840581" y="4763"/>
                    </a:lnTo>
                    <a:cubicBezTo>
                      <a:pt x="645318" y="6350"/>
                      <a:pt x="526256" y="65087"/>
                      <a:pt x="483393" y="95249"/>
                    </a:cubicBezTo>
                    <a:cubicBezTo>
                      <a:pt x="382587" y="167083"/>
                      <a:pt x="310753" y="312737"/>
                      <a:pt x="221456" y="378618"/>
                    </a:cubicBezTo>
                    <a:cubicBezTo>
                      <a:pt x="162719" y="421877"/>
                      <a:pt x="93166" y="469301"/>
                      <a:pt x="0" y="469104"/>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25"/>
              </a:p>
            </p:txBody>
          </p:sp>
          <p:sp>
            <p:nvSpPr>
              <p:cNvPr id="32" name="Freihandform 31"/>
              <p:cNvSpPr/>
              <p:nvPr/>
            </p:nvSpPr>
            <p:spPr>
              <a:xfrm flipH="1">
                <a:off x="5498633" y="4376158"/>
                <a:ext cx="1466849" cy="464687"/>
              </a:xfrm>
              <a:custGeom>
                <a:avLst/>
                <a:gdLst>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333375 w 1388269"/>
                  <a:gd name="connsiteY4" fmla="*/ 190500 h 433388"/>
                  <a:gd name="connsiteX5" fmla="*/ 316706 w 1388269"/>
                  <a:gd name="connsiteY5" fmla="*/ 214313 h 433388"/>
                  <a:gd name="connsiteX6" fmla="*/ 207169 w 1388269"/>
                  <a:gd name="connsiteY6" fmla="*/ 342900 h 433388"/>
                  <a:gd name="connsiteX7" fmla="*/ 188119 w 1388269"/>
                  <a:gd name="connsiteY7" fmla="*/ 357188 h 433388"/>
                  <a:gd name="connsiteX8" fmla="*/ 173831 w 1388269"/>
                  <a:gd name="connsiteY8" fmla="*/ 366713 h 433388"/>
                  <a:gd name="connsiteX9" fmla="*/ 0 w 1388269"/>
                  <a:gd name="connsiteY9"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333375 w 1388269"/>
                  <a:gd name="connsiteY4" fmla="*/ 190500 h 433388"/>
                  <a:gd name="connsiteX5" fmla="*/ 316706 w 1388269"/>
                  <a:gd name="connsiteY5" fmla="*/ 214313 h 433388"/>
                  <a:gd name="connsiteX6" fmla="*/ 207169 w 1388269"/>
                  <a:gd name="connsiteY6" fmla="*/ 342900 h 433388"/>
                  <a:gd name="connsiteX7" fmla="*/ 188119 w 1388269"/>
                  <a:gd name="connsiteY7" fmla="*/ 357188 h 433388"/>
                  <a:gd name="connsiteX8" fmla="*/ 173831 w 1388269"/>
                  <a:gd name="connsiteY8" fmla="*/ 366713 h 433388"/>
                  <a:gd name="connsiteX9" fmla="*/ 0 w 1388269"/>
                  <a:gd name="connsiteY9"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333375 w 1388269"/>
                  <a:gd name="connsiteY4" fmla="*/ 190500 h 433388"/>
                  <a:gd name="connsiteX5" fmla="*/ 316706 w 1388269"/>
                  <a:gd name="connsiteY5" fmla="*/ 214313 h 433388"/>
                  <a:gd name="connsiteX6" fmla="*/ 207169 w 1388269"/>
                  <a:gd name="connsiteY6" fmla="*/ 342900 h 433388"/>
                  <a:gd name="connsiteX7" fmla="*/ 188119 w 1388269"/>
                  <a:gd name="connsiteY7" fmla="*/ 357188 h 433388"/>
                  <a:gd name="connsiteX8" fmla="*/ 173831 w 1388269"/>
                  <a:gd name="connsiteY8" fmla="*/ 366713 h 433388"/>
                  <a:gd name="connsiteX9" fmla="*/ 0 w 1388269"/>
                  <a:gd name="connsiteY9"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316706 w 1388269"/>
                  <a:gd name="connsiteY4" fmla="*/ 214313 h 433388"/>
                  <a:gd name="connsiteX5" fmla="*/ 207169 w 1388269"/>
                  <a:gd name="connsiteY5" fmla="*/ 342900 h 433388"/>
                  <a:gd name="connsiteX6" fmla="*/ 188119 w 1388269"/>
                  <a:gd name="connsiteY6" fmla="*/ 357188 h 433388"/>
                  <a:gd name="connsiteX7" fmla="*/ 173831 w 1388269"/>
                  <a:gd name="connsiteY7" fmla="*/ 366713 h 433388"/>
                  <a:gd name="connsiteX8" fmla="*/ 0 w 1388269"/>
                  <a:gd name="connsiteY8"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207169 w 1388269"/>
                  <a:gd name="connsiteY4" fmla="*/ 342900 h 433388"/>
                  <a:gd name="connsiteX5" fmla="*/ 188119 w 1388269"/>
                  <a:gd name="connsiteY5" fmla="*/ 357188 h 433388"/>
                  <a:gd name="connsiteX6" fmla="*/ 173831 w 1388269"/>
                  <a:gd name="connsiteY6" fmla="*/ 366713 h 433388"/>
                  <a:gd name="connsiteX7" fmla="*/ 0 w 1388269"/>
                  <a:gd name="connsiteY7"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207169 w 1388269"/>
                  <a:gd name="connsiteY4" fmla="*/ 342900 h 433388"/>
                  <a:gd name="connsiteX5" fmla="*/ 173831 w 1388269"/>
                  <a:gd name="connsiteY5" fmla="*/ 366713 h 433388"/>
                  <a:gd name="connsiteX6" fmla="*/ 0 w 1388269"/>
                  <a:gd name="connsiteY6"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207169 w 1388269"/>
                  <a:gd name="connsiteY4" fmla="*/ 342900 h 433388"/>
                  <a:gd name="connsiteX5" fmla="*/ 0 w 1388269"/>
                  <a:gd name="connsiteY5"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52425 w 1388269"/>
                  <a:gd name="connsiteY3" fmla="*/ 173832 h 433388"/>
                  <a:gd name="connsiteX4" fmla="*/ 207169 w 1388269"/>
                  <a:gd name="connsiteY4" fmla="*/ 342900 h 433388"/>
                  <a:gd name="connsiteX5" fmla="*/ 0 w 1388269"/>
                  <a:gd name="connsiteY5"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30994 w 1388269"/>
                  <a:gd name="connsiteY3" fmla="*/ 207169 h 433388"/>
                  <a:gd name="connsiteX4" fmla="*/ 207169 w 1388269"/>
                  <a:gd name="connsiteY4" fmla="*/ 342900 h 433388"/>
                  <a:gd name="connsiteX5" fmla="*/ 0 w 1388269"/>
                  <a:gd name="connsiteY5" fmla="*/ 433388 h 433388"/>
                  <a:gd name="connsiteX0" fmla="*/ 1388269 w 1388269"/>
                  <a:gd name="connsiteY0" fmla="*/ 0 h 433388"/>
                  <a:gd name="connsiteX1" fmla="*/ 769144 w 1388269"/>
                  <a:gd name="connsiteY1" fmla="*/ 2382 h 433388"/>
                  <a:gd name="connsiteX2" fmla="*/ 490537 w 1388269"/>
                  <a:gd name="connsiteY2" fmla="*/ 64294 h 433388"/>
                  <a:gd name="connsiteX3" fmla="*/ 330994 w 1388269"/>
                  <a:gd name="connsiteY3" fmla="*/ 207169 h 433388"/>
                  <a:gd name="connsiteX4" fmla="*/ 207169 w 1388269"/>
                  <a:gd name="connsiteY4" fmla="*/ 342900 h 433388"/>
                  <a:gd name="connsiteX5" fmla="*/ 0 w 1388269"/>
                  <a:gd name="connsiteY5" fmla="*/ 433388 h 433388"/>
                  <a:gd name="connsiteX0" fmla="*/ 1466850 w 1466850"/>
                  <a:gd name="connsiteY0" fmla="*/ 0 h 457200"/>
                  <a:gd name="connsiteX1" fmla="*/ 847725 w 1466850"/>
                  <a:gd name="connsiteY1" fmla="*/ 2382 h 457200"/>
                  <a:gd name="connsiteX2" fmla="*/ 569118 w 1466850"/>
                  <a:gd name="connsiteY2" fmla="*/ 64294 h 457200"/>
                  <a:gd name="connsiteX3" fmla="*/ 409575 w 1466850"/>
                  <a:gd name="connsiteY3" fmla="*/ 207169 h 457200"/>
                  <a:gd name="connsiteX4" fmla="*/ 285750 w 1466850"/>
                  <a:gd name="connsiteY4" fmla="*/ 342900 h 457200"/>
                  <a:gd name="connsiteX5" fmla="*/ 0 w 1466850"/>
                  <a:gd name="connsiteY5" fmla="*/ 457200 h 457200"/>
                  <a:gd name="connsiteX0" fmla="*/ 1466850 w 1466850"/>
                  <a:gd name="connsiteY0" fmla="*/ 0 h 457200"/>
                  <a:gd name="connsiteX1" fmla="*/ 847725 w 1466850"/>
                  <a:gd name="connsiteY1" fmla="*/ 2382 h 457200"/>
                  <a:gd name="connsiteX2" fmla="*/ 569118 w 1466850"/>
                  <a:gd name="connsiteY2" fmla="*/ 64294 h 457200"/>
                  <a:gd name="connsiteX3" fmla="*/ 409575 w 1466850"/>
                  <a:gd name="connsiteY3" fmla="*/ 207169 h 457200"/>
                  <a:gd name="connsiteX4" fmla="*/ 285750 w 1466850"/>
                  <a:gd name="connsiteY4" fmla="*/ 342900 h 457200"/>
                  <a:gd name="connsiteX5" fmla="*/ 0 w 1466850"/>
                  <a:gd name="connsiteY5" fmla="*/ 457200 h 457200"/>
                  <a:gd name="connsiteX0" fmla="*/ 1488796 w 1488796"/>
                  <a:gd name="connsiteY0" fmla="*/ 0 h 471830"/>
                  <a:gd name="connsiteX1" fmla="*/ 869671 w 1488796"/>
                  <a:gd name="connsiteY1" fmla="*/ 2382 h 471830"/>
                  <a:gd name="connsiteX2" fmla="*/ 591064 w 1488796"/>
                  <a:gd name="connsiteY2" fmla="*/ 64294 h 471830"/>
                  <a:gd name="connsiteX3" fmla="*/ 431521 w 1488796"/>
                  <a:gd name="connsiteY3" fmla="*/ 207169 h 471830"/>
                  <a:gd name="connsiteX4" fmla="*/ 307696 w 1488796"/>
                  <a:gd name="connsiteY4" fmla="*/ 342900 h 471830"/>
                  <a:gd name="connsiteX5" fmla="*/ 0 w 1488796"/>
                  <a:gd name="connsiteY5" fmla="*/ 471830 h 471830"/>
                  <a:gd name="connsiteX0" fmla="*/ 1510741 w 1510741"/>
                  <a:gd name="connsiteY0" fmla="*/ 0 h 471830"/>
                  <a:gd name="connsiteX1" fmla="*/ 891616 w 1510741"/>
                  <a:gd name="connsiteY1" fmla="*/ 2382 h 471830"/>
                  <a:gd name="connsiteX2" fmla="*/ 613009 w 1510741"/>
                  <a:gd name="connsiteY2" fmla="*/ 64294 h 471830"/>
                  <a:gd name="connsiteX3" fmla="*/ 453466 w 1510741"/>
                  <a:gd name="connsiteY3" fmla="*/ 207169 h 471830"/>
                  <a:gd name="connsiteX4" fmla="*/ 329641 w 1510741"/>
                  <a:gd name="connsiteY4" fmla="*/ 342900 h 471830"/>
                  <a:gd name="connsiteX5" fmla="*/ 0 w 1510741"/>
                  <a:gd name="connsiteY5" fmla="*/ 471830 h 471830"/>
                  <a:gd name="connsiteX0" fmla="*/ 1466849 w 1466849"/>
                  <a:gd name="connsiteY0" fmla="*/ 0 h 471830"/>
                  <a:gd name="connsiteX1" fmla="*/ 891616 w 1466849"/>
                  <a:gd name="connsiteY1" fmla="*/ 2382 h 471830"/>
                  <a:gd name="connsiteX2" fmla="*/ 613009 w 1466849"/>
                  <a:gd name="connsiteY2" fmla="*/ 64294 h 471830"/>
                  <a:gd name="connsiteX3" fmla="*/ 453466 w 1466849"/>
                  <a:gd name="connsiteY3" fmla="*/ 207169 h 471830"/>
                  <a:gd name="connsiteX4" fmla="*/ 329641 w 1466849"/>
                  <a:gd name="connsiteY4" fmla="*/ 342900 h 471830"/>
                  <a:gd name="connsiteX5" fmla="*/ 0 w 1466849"/>
                  <a:gd name="connsiteY5" fmla="*/ 471830 h 471830"/>
                  <a:gd name="connsiteX0" fmla="*/ 1466849 w 1466849"/>
                  <a:gd name="connsiteY0" fmla="*/ 2393 h 474223"/>
                  <a:gd name="connsiteX1" fmla="*/ 886853 w 1466849"/>
                  <a:gd name="connsiteY1" fmla="*/ 12 h 474223"/>
                  <a:gd name="connsiteX2" fmla="*/ 613009 w 1466849"/>
                  <a:gd name="connsiteY2" fmla="*/ 66687 h 474223"/>
                  <a:gd name="connsiteX3" fmla="*/ 453466 w 1466849"/>
                  <a:gd name="connsiteY3" fmla="*/ 209562 h 474223"/>
                  <a:gd name="connsiteX4" fmla="*/ 329641 w 1466849"/>
                  <a:gd name="connsiteY4" fmla="*/ 345293 h 474223"/>
                  <a:gd name="connsiteX5" fmla="*/ 0 w 1466849"/>
                  <a:gd name="connsiteY5" fmla="*/ 474223 h 474223"/>
                  <a:gd name="connsiteX0" fmla="*/ 1466849 w 1466849"/>
                  <a:gd name="connsiteY0" fmla="*/ 2393 h 474223"/>
                  <a:gd name="connsiteX1" fmla="*/ 886853 w 1466849"/>
                  <a:gd name="connsiteY1" fmla="*/ 12 h 474223"/>
                  <a:gd name="connsiteX2" fmla="*/ 613009 w 1466849"/>
                  <a:gd name="connsiteY2" fmla="*/ 66687 h 474223"/>
                  <a:gd name="connsiteX3" fmla="*/ 453466 w 1466849"/>
                  <a:gd name="connsiteY3" fmla="*/ 209562 h 474223"/>
                  <a:gd name="connsiteX4" fmla="*/ 329641 w 1466849"/>
                  <a:gd name="connsiteY4" fmla="*/ 345293 h 474223"/>
                  <a:gd name="connsiteX5" fmla="*/ 0 w 1466849"/>
                  <a:gd name="connsiteY5" fmla="*/ 474223 h 474223"/>
                  <a:gd name="connsiteX0" fmla="*/ 1466849 w 1466849"/>
                  <a:gd name="connsiteY0" fmla="*/ 2381 h 474211"/>
                  <a:gd name="connsiteX1" fmla="*/ 886853 w 1466849"/>
                  <a:gd name="connsiteY1" fmla="*/ 0 h 474211"/>
                  <a:gd name="connsiteX2" fmla="*/ 613009 w 1466849"/>
                  <a:gd name="connsiteY2" fmla="*/ 66675 h 474211"/>
                  <a:gd name="connsiteX3" fmla="*/ 453466 w 1466849"/>
                  <a:gd name="connsiteY3" fmla="*/ 209550 h 474211"/>
                  <a:gd name="connsiteX4" fmla="*/ 329641 w 1466849"/>
                  <a:gd name="connsiteY4" fmla="*/ 345281 h 474211"/>
                  <a:gd name="connsiteX5" fmla="*/ 0 w 1466849"/>
                  <a:gd name="connsiteY5" fmla="*/ 474211 h 474211"/>
                  <a:gd name="connsiteX0" fmla="*/ 1466849 w 1466849"/>
                  <a:gd name="connsiteY0" fmla="*/ 2381 h 474211"/>
                  <a:gd name="connsiteX1" fmla="*/ 886853 w 1466849"/>
                  <a:gd name="connsiteY1" fmla="*/ 0 h 474211"/>
                  <a:gd name="connsiteX2" fmla="*/ 613009 w 1466849"/>
                  <a:gd name="connsiteY2" fmla="*/ 66675 h 474211"/>
                  <a:gd name="connsiteX3" fmla="*/ 453466 w 1466849"/>
                  <a:gd name="connsiteY3" fmla="*/ 209550 h 474211"/>
                  <a:gd name="connsiteX4" fmla="*/ 329641 w 1466849"/>
                  <a:gd name="connsiteY4" fmla="*/ 345281 h 474211"/>
                  <a:gd name="connsiteX5" fmla="*/ 0 w 1466849"/>
                  <a:gd name="connsiteY5" fmla="*/ 474211 h 474211"/>
                  <a:gd name="connsiteX0" fmla="*/ 1466849 w 1466849"/>
                  <a:gd name="connsiteY0" fmla="*/ 2381 h 474211"/>
                  <a:gd name="connsiteX1" fmla="*/ 886853 w 1466849"/>
                  <a:gd name="connsiteY1" fmla="*/ 0 h 474211"/>
                  <a:gd name="connsiteX2" fmla="*/ 613009 w 1466849"/>
                  <a:gd name="connsiteY2" fmla="*/ 66675 h 474211"/>
                  <a:gd name="connsiteX3" fmla="*/ 453466 w 1466849"/>
                  <a:gd name="connsiteY3" fmla="*/ 209550 h 474211"/>
                  <a:gd name="connsiteX4" fmla="*/ 329641 w 1466849"/>
                  <a:gd name="connsiteY4" fmla="*/ 345281 h 474211"/>
                  <a:gd name="connsiteX5" fmla="*/ 0 w 1466849"/>
                  <a:gd name="connsiteY5" fmla="*/ 474211 h 474211"/>
                  <a:gd name="connsiteX0" fmla="*/ 1466849 w 1466849"/>
                  <a:gd name="connsiteY0" fmla="*/ 2381 h 474211"/>
                  <a:gd name="connsiteX1" fmla="*/ 886853 w 1466849"/>
                  <a:gd name="connsiteY1" fmla="*/ 0 h 474211"/>
                  <a:gd name="connsiteX2" fmla="*/ 613009 w 1466849"/>
                  <a:gd name="connsiteY2" fmla="*/ 66675 h 474211"/>
                  <a:gd name="connsiteX3" fmla="*/ 453466 w 1466849"/>
                  <a:gd name="connsiteY3" fmla="*/ 209550 h 474211"/>
                  <a:gd name="connsiteX4" fmla="*/ 329641 w 1466849"/>
                  <a:gd name="connsiteY4" fmla="*/ 345281 h 474211"/>
                  <a:gd name="connsiteX5" fmla="*/ 0 w 1466849"/>
                  <a:gd name="connsiteY5" fmla="*/ 474211 h 474211"/>
                  <a:gd name="connsiteX0" fmla="*/ 1466849 w 1466849"/>
                  <a:gd name="connsiteY0" fmla="*/ 2381 h 474211"/>
                  <a:gd name="connsiteX1" fmla="*/ 886853 w 1466849"/>
                  <a:gd name="connsiteY1" fmla="*/ 0 h 474211"/>
                  <a:gd name="connsiteX2" fmla="*/ 613009 w 1466849"/>
                  <a:gd name="connsiteY2" fmla="*/ 66675 h 474211"/>
                  <a:gd name="connsiteX3" fmla="*/ 453466 w 1466849"/>
                  <a:gd name="connsiteY3" fmla="*/ 209550 h 474211"/>
                  <a:gd name="connsiteX4" fmla="*/ 329641 w 1466849"/>
                  <a:gd name="connsiteY4" fmla="*/ 345281 h 474211"/>
                  <a:gd name="connsiteX5" fmla="*/ 0 w 1466849"/>
                  <a:gd name="connsiteY5" fmla="*/ 474211 h 474211"/>
                  <a:gd name="connsiteX0" fmla="*/ 1466849 w 1466849"/>
                  <a:gd name="connsiteY0" fmla="*/ 2381 h 474211"/>
                  <a:gd name="connsiteX1" fmla="*/ 886853 w 1466849"/>
                  <a:gd name="connsiteY1" fmla="*/ 0 h 474211"/>
                  <a:gd name="connsiteX2" fmla="*/ 613009 w 1466849"/>
                  <a:gd name="connsiteY2" fmla="*/ 66675 h 474211"/>
                  <a:gd name="connsiteX3" fmla="*/ 453466 w 1466849"/>
                  <a:gd name="connsiteY3" fmla="*/ 209550 h 474211"/>
                  <a:gd name="connsiteX4" fmla="*/ 305829 w 1466849"/>
                  <a:gd name="connsiteY4" fmla="*/ 371475 h 474211"/>
                  <a:gd name="connsiteX5" fmla="*/ 0 w 1466849"/>
                  <a:gd name="connsiteY5" fmla="*/ 474211 h 474211"/>
                  <a:gd name="connsiteX0" fmla="*/ 1466849 w 1466849"/>
                  <a:gd name="connsiteY0" fmla="*/ 2381 h 474211"/>
                  <a:gd name="connsiteX1" fmla="*/ 886853 w 1466849"/>
                  <a:gd name="connsiteY1" fmla="*/ 0 h 474211"/>
                  <a:gd name="connsiteX2" fmla="*/ 613009 w 1466849"/>
                  <a:gd name="connsiteY2" fmla="*/ 66675 h 474211"/>
                  <a:gd name="connsiteX3" fmla="*/ 453466 w 1466849"/>
                  <a:gd name="connsiteY3" fmla="*/ 209550 h 474211"/>
                  <a:gd name="connsiteX4" fmla="*/ 303448 w 1466849"/>
                  <a:gd name="connsiteY4" fmla="*/ 357187 h 474211"/>
                  <a:gd name="connsiteX5" fmla="*/ 0 w 1466849"/>
                  <a:gd name="connsiteY5" fmla="*/ 474211 h 474211"/>
                  <a:gd name="connsiteX0" fmla="*/ 1466849 w 1466849"/>
                  <a:gd name="connsiteY0" fmla="*/ 0 h 471830"/>
                  <a:gd name="connsiteX1" fmla="*/ 886853 w 1466849"/>
                  <a:gd name="connsiteY1" fmla="*/ 7144 h 471830"/>
                  <a:gd name="connsiteX2" fmla="*/ 613009 w 1466849"/>
                  <a:gd name="connsiteY2" fmla="*/ 64294 h 471830"/>
                  <a:gd name="connsiteX3" fmla="*/ 453466 w 1466849"/>
                  <a:gd name="connsiteY3" fmla="*/ 207169 h 471830"/>
                  <a:gd name="connsiteX4" fmla="*/ 303448 w 1466849"/>
                  <a:gd name="connsiteY4" fmla="*/ 354806 h 471830"/>
                  <a:gd name="connsiteX5" fmla="*/ 0 w 1466849"/>
                  <a:gd name="connsiteY5" fmla="*/ 471830 h 471830"/>
                  <a:gd name="connsiteX0" fmla="*/ 1466849 w 1466849"/>
                  <a:gd name="connsiteY0" fmla="*/ 0 h 464687"/>
                  <a:gd name="connsiteX1" fmla="*/ 886853 w 1466849"/>
                  <a:gd name="connsiteY1" fmla="*/ 1 h 464687"/>
                  <a:gd name="connsiteX2" fmla="*/ 613009 w 1466849"/>
                  <a:gd name="connsiteY2" fmla="*/ 57151 h 464687"/>
                  <a:gd name="connsiteX3" fmla="*/ 453466 w 1466849"/>
                  <a:gd name="connsiteY3" fmla="*/ 200026 h 464687"/>
                  <a:gd name="connsiteX4" fmla="*/ 303448 w 1466849"/>
                  <a:gd name="connsiteY4" fmla="*/ 347663 h 464687"/>
                  <a:gd name="connsiteX5" fmla="*/ 0 w 1466849"/>
                  <a:gd name="connsiteY5" fmla="*/ 464687 h 464687"/>
                  <a:gd name="connsiteX0" fmla="*/ 1466849 w 1466849"/>
                  <a:gd name="connsiteY0" fmla="*/ 0 h 464687"/>
                  <a:gd name="connsiteX1" fmla="*/ 886853 w 1466849"/>
                  <a:gd name="connsiteY1" fmla="*/ 1 h 464687"/>
                  <a:gd name="connsiteX2" fmla="*/ 593959 w 1466849"/>
                  <a:gd name="connsiteY2" fmla="*/ 54769 h 464687"/>
                  <a:gd name="connsiteX3" fmla="*/ 453466 w 1466849"/>
                  <a:gd name="connsiteY3" fmla="*/ 200026 h 464687"/>
                  <a:gd name="connsiteX4" fmla="*/ 303448 w 1466849"/>
                  <a:gd name="connsiteY4" fmla="*/ 347663 h 464687"/>
                  <a:gd name="connsiteX5" fmla="*/ 0 w 1466849"/>
                  <a:gd name="connsiteY5" fmla="*/ 464687 h 464687"/>
                  <a:gd name="connsiteX0" fmla="*/ 1466849 w 1466849"/>
                  <a:gd name="connsiteY0" fmla="*/ 0 h 464687"/>
                  <a:gd name="connsiteX1" fmla="*/ 886853 w 1466849"/>
                  <a:gd name="connsiteY1" fmla="*/ 1 h 464687"/>
                  <a:gd name="connsiteX2" fmla="*/ 593959 w 1466849"/>
                  <a:gd name="connsiteY2" fmla="*/ 54769 h 464687"/>
                  <a:gd name="connsiteX3" fmla="*/ 453466 w 1466849"/>
                  <a:gd name="connsiteY3" fmla="*/ 200026 h 464687"/>
                  <a:gd name="connsiteX4" fmla="*/ 312973 w 1466849"/>
                  <a:gd name="connsiteY4" fmla="*/ 347663 h 464687"/>
                  <a:gd name="connsiteX5" fmla="*/ 0 w 1466849"/>
                  <a:gd name="connsiteY5" fmla="*/ 464687 h 464687"/>
                  <a:gd name="connsiteX0" fmla="*/ 1466849 w 1466849"/>
                  <a:gd name="connsiteY0" fmla="*/ 0 h 464687"/>
                  <a:gd name="connsiteX1" fmla="*/ 886853 w 1466849"/>
                  <a:gd name="connsiteY1" fmla="*/ 1 h 464687"/>
                  <a:gd name="connsiteX2" fmla="*/ 593959 w 1466849"/>
                  <a:gd name="connsiteY2" fmla="*/ 54769 h 464687"/>
                  <a:gd name="connsiteX3" fmla="*/ 455848 w 1466849"/>
                  <a:gd name="connsiteY3" fmla="*/ 202407 h 464687"/>
                  <a:gd name="connsiteX4" fmla="*/ 312973 w 1466849"/>
                  <a:gd name="connsiteY4" fmla="*/ 347663 h 464687"/>
                  <a:gd name="connsiteX5" fmla="*/ 0 w 1466849"/>
                  <a:gd name="connsiteY5" fmla="*/ 464687 h 464687"/>
                  <a:gd name="connsiteX0" fmla="*/ 1466849 w 1466849"/>
                  <a:gd name="connsiteY0" fmla="*/ 0 h 464687"/>
                  <a:gd name="connsiteX1" fmla="*/ 886853 w 1466849"/>
                  <a:gd name="connsiteY1" fmla="*/ 1 h 464687"/>
                  <a:gd name="connsiteX2" fmla="*/ 593959 w 1466849"/>
                  <a:gd name="connsiteY2" fmla="*/ 54769 h 464687"/>
                  <a:gd name="connsiteX3" fmla="*/ 312973 w 1466849"/>
                  <a:gd name="connsiteY3" fmla="*/ 347663 h 464687"/>
                  <a:gd name="connsiteX4" fmla="*/ 0 w 1466849"/>
                  <a:gd name="connsiteY4" fmla="*/ 464687 h 46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6849" h="464687">
                    <a:moveTo>
                      <a:pt x="1466849" y="0"/>
                    </a:moveTo>
                    <a:lnTo>
                      <a:pt x="886853" y="1"/>
                    </a:lnTo>
                    <a:cubicBezTo>
                      <a:pt x="774934" y="1588"/>
                      <a:pt x="646347" y="26989"/>
                      <a:pt x="593959" y="54769"/>
                    </a:cubicBezTo>
                    <a:cubicBezTo>
                      <a:pt x="498312" y="112713"/>
                      <a:pt x="411966" y="279343"/>
                      <a:pt x="312973" y="347663"/>
                    </a:cubicBezTo>
                    <a:cubicBezTo>
                      <a:pt x="258999" y="398066"/>
                      <a:pt x="138411" y="464884"/>
                      <a:pt x="0" y="464687"/>
                    </a:cubicBezTo>
                  </a:path>
                </a:pathLst>
              </a:cu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25"/>
              </a:p>
            </p:txBody>
          </p:sp>
          <p:sp>
            <p:nvSpPr>
              <p:cNvPr id="33" name="Rechteck 32"/>
              <p:cNvSpPr/>
              <p:nvPr/>
            </p:nvSpPr>
            <p:spPr>
              <a:xfrm flipH="1">
                <a:off x="4528109" y="3774606"/>
                <a:ext cx="336499" cy="108996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34" name="Freihandform 33"/>
              <p:cNvSpPr/>
              <p:nvPr/>
            </p:nvSpPr>
            <p:spPr>
              <a:xfrm flipH="1">
                <a:off x="4874133" y="3862352"/>
                <a:ext cx="624002" cy="914400"/>
              </a:xfrm>
              <a:custGeom>
                <a:avLst/>
                <a:gdLst>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24282 w 614477"/>
                  <a:gd name="connsiteY7" fmla="*/ 592531 h 746150"/>
                  <a:gd name="connsiteX8" fmla="*/ 475488 w 614477"/>
                  <a:gd name="connsiteY8" fmla="*/ 709574 h 746150"/>
                  <a:gd name="connsiteX9" fmla="*/ 614477 w 614477"/>
                  <a:gd name="connsiteY9"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24282 w 614477"/>
                  <a:gd name="connsiteY7" fmla="*/ 592531 h 746150"/>
                  <a:gd name="connsiteX8" fmla="*/ 475488 w 614477"/>
                  <a:gd name="connsiteY8" fmla="*/ 709574 h 746150"/>
                  <a:gd name="connsiteX9" fmla="*/ 614477 w 614477"/>
                  <a:gd name="connsiteY9"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24282 w 614477"/>
                  <a:gd name="connsiteY7" fmla="*/ 592531 h 746150"/>
                  <a:gd name="connsiteX8" fmla="*/ 470726 w 614477"/>
                  <a:gd name="connsiteY8" fmla="*/ 728624 h 746150"/>
                  <a:gd name="connsiteX9" fmla="*/ 614477 w 614477"/>
                  <a:gd name="connsiteY9"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70726 w 614477"/>
                  <a:gd name="connsiteY7" fmla="*/ 728624 h 746150"/>
                  <a:gd name="connsiteX8" fmla="*/ 614477 w 614477"/>
                  <a:gd name="connsiteY8"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63583 w 614477"/>
                  <a:gd name="connsiteY7" fmla="*/ 719099 h 746150"/>
                  <a:gd name="connsiteX8" fmla="*/ 614477 w 614477"/>
                  <a:gd name="connsiteY8"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77292 w 614477"/>
                  <a:gd name="connsiteY6" fmla="*/ 542163 h 746150"/>
                  <a:gd name="connsiteX7" fmla="*/ 463583 w 614477"/>
                  <a:gd name="connsiteY7" fmla="*/ 719099 h 746150"/>
                  <a:gd name="connsiteX8" fmla="*/ 614477 w 614477"/>
                  <a:gd name="connsiteY8"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4327 w 614477"/>
                  <a:gd name="connsiteY5" fmla="*/ 506444 h 746150"/>
                  <a:gd name="connsiteX6" fmla="*/ 277292 w 614477"/>
                  <a:gd name="connsiteY6" fmla="*/ 542163 h 746150"/>
                  <a:gd name="connsiteX7" fmla="*/ 463583 w 614477"/>
                  <a:gd name="connsiteY7" fmla="*/ 719099 h 746150"/>
                  <a:gd name="connsiteX8" fmla="*/ 614477 w 614477"/>
                  <a:gd name="connsiteY8" fmla="*/ 746150 h 746150"/>
                  <a:gd name="connsiteX0" fmla="*/ 621450 w 628765"/>
                  <a:gd name="connsiteY0" fmla="*/ 0 h 746150"/>
                  <a:gd name="connsiteX1" fmla="*/ 482461 w 628765"/>
                  <a:gd name="connsiteY1" fmla="*/ 43891 h 746150"/>
                  <a:gd name="connsiteX2" fmla="*/ 292266 w 628765"/>
                  <a:gd name="connsiteY2" fmla="*/ 190195 h 746150"/>
                  <a:gd name="connsiteX3" fmla="*/ 36234 w 628765"/>
                  <a:gd name="connsiteY3" fmla="*/ 212141 h 746150"/>
                  <a:gd name="connsiteX4" fmla="*/ 0 w 628765"/>
                  <a:gd name="connsiteY4" fmla="*/ 367284 h 746150"/>
                  <a:gd name="connsiteX5" fmla="*/ 38615 w 628765"/>
                  <a:gd name="connsiteY5" fmla="*/ 506444 h 746150"/>
                  <a:gd name="connsiteX6" fmla="*/ 291580 w 628765"/>
                  <a:gd name="connsiteY6" fmla="*/ 542163 h 746150"/>
                  <a:gd name="connsiteX7" fmla="*/ 477871 w 628765"/>
                  <a:gd name="connsiteY7" fmla="*/ 719099 h 746150"/>
                  <a:gd name="connsiteX8" fmla="*/ 628765 w 628765"/>
                  <a:gd name="connsiteY8" fmla="*/ 746150 h 746150"/>
                  <a:gd name="connsiteX0" fmla="*/ 623831 w 631146"/>
                  <a:gd name="connsiteY0" fmla="*/ 0 h 746150"/>
                  <a:gd name="connsiteX1" fmla="*/ 484842 w 631146"/>
                  <a:gd name="connsiteY1" fmla="*/ 43891 h 746150"/>
                  <a:gd name="connsiteX2" fmla="*/ 294647 w 631146"/>
                  <a:gd name="connsiteY2" fmla="*/ 190195 h 746150"/>
                  <a:gd name="connsiteX3" fmla="*/ 38615 w 631146"/>
                  <a:gd name="connsiteY3" fmla="*/ 212141 h 746150"/>
                  <a:gd name="connsiteX4" fmla="*/ 0 w 631146"/>
                  <a:gd name="connsiteY4" fmla="*/ 355378 h 746150"/>
                  <a:gd name="connsiteX5" fmla="*/ 40996 w 631146"/>
                  <a:gd name="connsiteY5" fmla="*/ 506444 h 746150"/>
                  <a:gd name="connsiteX6" fmla="*/ 293961 w 631146"/>
                  <a:gd name="connsiteY6" fmla="*/ 542163 h 746150"/>
                  <a:gd name="connsiteX7" fmla="*/ 480252 w 631146"/>
                  <a:gd name="connsiteY7" fmla="*/ 719099 h 746150"/>
                  <a:gd name="connsiteX8" fmla="*/ 631146 w 631146"/>
                  <a:gd name="connsiteY8" fmla="*/ 746150 h 746150"/>
                  <a:gd name="connsiteX0" fmla="*/ 623831 w 631146"/>
                  <a:gd name="connsiteY0" fmla="*/ 0 h 746150"/>
                  <a:gd name="connsiteX1" fmla="*/ 484842 w 631146"/>
                  <a:gd name="connsiteY1" fmla="*/ 43891 h 746150"/>
                  <a:gd name="connsiteX2" fmla="*/ 294647 w 631146"/>
                  <a:gd name="connsiteY2" fmla="*/ 190195 h 746150"/>
                  <a:gd name="connsiteX3" fmla="*/ 38615 w 631146"/>
                  <a:gd name="connsiteY3" fmla="*/ 212141 h 746150"/>
                  <a:gd name="connsiteX4" fmla="*/ 0 w 631146"/>
                  <a:gd name="connsiteY4" fmla="*/ 355378 h 746150"/>
                  <a:gd name="connsiteX5" fmla="*/ 40996 w 631146"/>
                  <a:gd name="connsiteY5" fmla="*/ 506444 h 746150"/>
                  <a:gd name="connsiteX6" fmla="*/ 293961 w 631146"/>
                  <a:gd name="connsiteY6" fmla="*/ 542163 h 746150"/>
                  <a:gd name="connsiteX7" fmla="*/ 477870 w 631146"/>
                  <a:gd name="connsiteY7" fmla="*/ 702431 h 746150"/>
                  <a:gd name="connsiteX8" fmla="*/ 631146 w 631146"/>
                  <a:gd name="connsiteY8" fmla="*/ 746150 h 746150"/>
                  <a:gd name="connsiteX0" fmla="*/ 623831 w 631146"/>
                  <a:gd name="connsiteY0" fmla="*/ 0 h 717575"/>
                  <a:gd name="connsiteX1" fmla="*/ 484842 w 631146"/>
                  <a:gd name="connsiteY1" fmla="*/ 43891 h 717575"/>
                  <a:gd name="connsiteX2" fmla="*/ 294647 w 631146"/>
                  <a:gd name="connsiteY2" fmla="*/ 190195 h 717575"/>
                  <a:gd name="connsiteX3" fmla="*/ 38615 w 631146"/>
                  <a:gd name="connsiteY3" fmla="*/ 212141 h 717575"/>
                  <a:gd name="connsiteX4" fmla="*/ 0 w 631146"/>
                  <a:gd name="connsiteY4" fmla="*/ 355378 h 717575"/>
                  <a:gd name="connsiteX5" fmla="*/ 40996 w 631146"/>
                  <a:gd name="connsiteY5" fmla="*/ 506444 h 717575"/>
                  <a:gd name="connsiteX6" fmla="*/ 293961 w 631146"/>
                  <a:gd name="connsiteY6" fmla="*/ 542163 h 717575"/>
                  <a:gd name="connsiteX7" fmla="*/ 477870 w 631146"/>
                  <a:gd name="connsiteY7" fmla="*/ 702431 h 717575"/>
                  <a:gd name="connsiteX8" fmla="*/ 631146 w 631146"/>
                  <a:gd name="connsiteY8" fmla="*/ 717575 h 717575"/>
                  <a:gd name="connsiteX0" fmla="*/ 623831 w 624002"/>
                  <a:gd name="connsiteY0" fmla="*/ 0 h 717575"/>
                  <a:gd name="connsiteX1" fmla="*/ 484842 w 624002"/>
                  <a:gd name="connsiteY1" fmla="*/ 4389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77870 w 624002"/>
                  <a:gd name="connsiteY7" fmla="*/ 702431 h 717575"/>
                  <a:gd name="connsiteX8" fmla="*/ 624002 w 624002"/>
                  <a:gd name="connsiteY8" fmla="*/ 717575 h 717575"/>
                  <a:gd name="connsiteX0" fmla="*/ 623831 w 624002"/>
                  <a:gd name="connsiteY0" fmla="*/ 0 h 717575"/>
                  <a:gd name="connsiteX1" fmla="*/ 484842 w 624002"/>
                  <a:gd name="connsiteY1" fmla="*/ 4389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77870 w 624002"/>
                  <a:gd name="connsiteY7" fmla="*/ 702431 h 717575"/>
                  <a:gd name="connsiteX8" fmla="*/ 624002 w 624002"/>
                  <a:gd name="connsiteY8" fmla="*/ 717575 h 717575"/>
                  <a:gd name="connsiteX0" fmla="*/ 623831 w 624002"/>
                  <a:gd name="connsiteY0" fmla="*/ 0 h 717575"/>
                  <a:gd name="connsiteX1" fmla="*/ 484842 w 624002"/>
                  <a:gd name="connsiteY1" fmla="*/ 4389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77870 w 624002"/>
                  <a:gd name="connsiteY7" fmla="*/ 702431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77870 w 624002"/>
                  <a:gd name="connsiteY7" fmla="*/ 702431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62522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62522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62522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002" h="717575">
                    <a:moveTo>
                      <a:pt x="623831" y="0"/>
                    </a:moveTo>
                    <a:cubicBezTo>
                      <a:pt x="572738" y="343"/>
                      <a:pt x="476402" y="24498"/>
                      <a:pt x="439598" y="62941"/>
                    </a:cubicBezTo>
                    <a:cubicBezTo>
                      <a:pt x="391281" y="105359"/>
                      <a:pt x="347727" y="162064"/>
                      <a:pt x="294647" y="190195"/>
                    </a:cubicBezTo>
                    <a:lnTo>
                      <a:pt x="38615" y="212141"/>
                    </a:lnTo>
                    <a:cubicBezTo>
                      <a:pt x="25743" y="259887"/>
                      <a:pt x="3347" y="288582"/>
                      <a:pt x="0" y="362522"/>
                    </a:cubicBezTo>
                    <a:cubicBezTo>
                      <a:pt x="1759" y="424783"/>
                      <a:pt x="27331" y="456089"/>
                      <a:pt x="40996" y="506444"/>
                    </a:cubicBezTo>
                    <a:lnTo>
                      <a:pt x="293961" y="542163"/>
                    </a:lnTo>
                    <a:cubicBezTo>
                      <a:pt x="344152" y="574948"/>
                      <a:pt x="380054" y="626783"/>
                      <a:pt x="423101" y="669093"/>
                    </a:cubicBezTo>
                    <a:cubicBezTo>
                      <a:pt x="455144" y="702716"/>
                      <a:pt x="570529" y="717289"/>
                      <a:pt x="624002" y="717575"/>
                    </a:cubicBezTo>
                  </a:path>
                </a:pathLst>
              </a:cu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25"/>
              </a:p>
            </p:txBody>
          </p:sp>
        </p:grpSp>
        <p:sp>
          <p:nvSpPr>
            <p:cNvPr id="35" name="Freihandform 34"/>
            <p:cNvSpPr/>
            <p:nvPr/>
          </p:nvSpPr>
          <p:spPr>
            <a:xfrm rot="10800000">
              <a:off x="4182085" y="4058292"/>
              <a:ext cx="346024" cy="87784"/>
            </a:xfrm>
            <a:custGeom>
              <a:avLst/>
              <a:gdLst>
                <a:gd name="connsiteX0" fmla="*/ 0 w 1367943"/>
                <a:gd name="connsiteY0" fmla="*/ 0 h 277978"/>
                <a:gd name="connsiteX1" fmla="*/ 1207008 w 1367943"/>
                <a:gd name="connsiteY1" fmla="*/ 0 h 277978"/>
                <a:gd name="connsiteX2" fmla="*/ 1324052 w 1367943"/>
                <a:gd name="connsiteY2" fmla="*/ 58522 h 277978"/>
                <a:gd name="connsiteX3" fmla="*/ 1367943 w 1367943"/>
                <a:gd name="connsiteY3" fmla="*/ 153619 h 277978"/>
                <a:gd name="connsiteX4" fmla="*/ 1309421 w 1367943"/>
                <a:gd name="connsiteY4" fmla="*/ 248717 h 277978"/>
                <a:gd name="connsiteX5" fmla="*/ 1199693 w 1367943"/>
                <a:gd name="connsiteY5" fmla="*/ 277978 h 277978"/>
                <a:gd name="connsiteX6" fmla="*/ 0 w 1367943"/>
                <a:gd name="connsiteY6" fmla="*/ 277978 h 277978"/>
                <a:gd name="connsiteX0" fmla="*/ 0 w 1367943"/>
                <a:gd name="connsiteY0" fmla="*/ 0 h 277978"/>
                <a:gd name="connsiteX1" fmla="*/ 1207008 w 1367943"/>
                <a:gd name="connsiteY1" fmla="*/ 0 h 277978"/>
                <a:gd name="connsiteX2" fmla="*/ 1367943 w 1367943"/>
                <a:gd name="connsiteY2" fmla="*/ 153619 h 277978"/>
                <a:gd name="connsiteX3" fmla="*/ 1309421 w 1367943"/>
                <a:gd name="connsiteY3" fmla="*/ 248717 h 277978"/>
                <a:gd name="connsiteX4" fmla="*/ 1199693 w 1367943"/>
                <a:gd name="connsiteY4" fmla="*/ 277978 h 277978"/>
                <a:gd name="connsiteX5" fmla="*/ 0 w 1367943"/>
                <a:gd name="connsiteY5" fmla="*/ 277978 h 277978"/>
                <a:gd name="connsiteX0" fmla="*/ 0 w 1367943"/>
                <a:gd name="connsiteY0" fmla="*/ 0 h 277978"/>
                <a:gd name="connsiteX1" fmla="*/ 1207008 w 1367943"/>
                <a:gd name="connsiteY1" fmla="*/ 0 h 277978"/>
                <a:gd name="connsiteX2" fmla="*/ 1367943 w 1367943"/>
                <a:gd name="connsiteY2" fmla="*/ 153619 h 277978"/>
                <a:gd name="connsiteX3" fmla="*/ 1199693 w 1367943"/>
                <a:gd name="connsiteY3" fmla="*/ 277978 h 277978"/>
                <a:gd name="connsiteX4" fmla="*/ 0 w 1367943"/>
                <a:gd name="connsiteY4" fmla="*/ 277978 h 277978"/>
                <a:gd name="connsiteX0" fmla="*/ 0 w 1367943"/>
                <a:gd name="connsiteY0" fmla="*/ 0 h 277978"/>
                <a:gd name="connsiteX1" fmla="*/ 1207008 w 1367943"/>
                <a:gd name="connsiteY1" fmla="*/ 0 h 277978"/>
                <a:gd name="connsiteX2" fmla="*/ 1367943 w 1367943"/>
                <a:gd name="connsiteY2" fmla="*/ 153619 h 277978"/>
                <a:gd name="connsiteX3" fmla="*/ 1199693 w 1367943"/>
                <a:gd name="connsiteY3" fmla="*/ 277978 h 277978"/>
                <a:gd name="connsiteX4" fmla="*/ 0 w 1367943"/>
                <a:gd name="connsiteY4" fmla="*/ 277978 h 277978"/>
                <a:gd name="connsiteX0" fmla="*/ 0 w 1367981"/>
                <a:gd name="connsiteY0" fmla="*/ 0 h 277978"/>
                <a:gd name="connsiteX1" fmla="*/ 1207008 w 1367981"/>
                <a:gd name="connsiteY1" fmla="*/ 0 h 277978"/>
                <a:gd name="connsiteX2" fmla="*/ 1367943 w 1367981"/>
                <a:gd name="connsiteY2" fmla="*/ 153619 h 277978"/>
                <a:gd name="connsiteX3" fmla="*/ 1199693 w 1367981"/>
                <a:gd name="connsiteY3" fmla="*/ 277978 h 277978"/>
                <a:gd name="connsiteX4" fmla="*/ 0 w 1367981"/>
                <a:gd name="connsiteY4" fmla="*/ 277978 h 277978"/>
                <a:gd name="connsiteX0" fmla="*/ 0 w 1367986"/>
                <a:gd name="connsiteY0" fmla="*/ 0 h 277978"/>
                <a:gd name="connsiteX1" fmla="*/ 1207008 w 1367986"/>
                <a:gd name="connsiteY1" fmla="*/ 0 h 277978"/>
                <a:gd name="connsiteX2" fmla="*/ 1367943 w 1367986"/>
                <a:gd name="connsiteY2" fmla="*/ 153619 h 277978"/>
                <a:gd name="connsiteX3" fmla="*/ 1199693 w 1367986"/>
                <a:gd name="connsiteY3" fmla="*/ 277978 h 277978"/>
                <a:gd name="connsiteX4" fmla="*/ 0 w 1367986"/>
                <a:gd name="connsiteY4" fmla="*/ 277978 h 277978"/>
                <a:gd name="connsiteX0" fmla="*/ 0 w 1367986"/>
                <a:gd name="connsiteY0" fmla="*/ 0 h 277978"/>
                <a:gd name="connsiteX1" fmla="*/ 1207008 w 1367986"/>
                <a:gd name="connsiteY1" fmla="*/ 0 h 277978"/>
                <a:gd name="connsiteX2" fmla="*/ 1367943 w 1367986"/>
                <a:gd name="connsiteY2" fmla="*/ 153619 h 277978"/>
                <a:gd name="connsiteX3" fmla="*/ 1199693 w 1367986"/>
                <a:gd name="connsiteY3" fmla="*/ 277978 h 277978"/>
                <a:gd name="connsiteX4" fmla="*/ 0 w 1367986"/>
                <a:gd name="connsiteY4" fmla="*/ 277978 h 277978"/>
                <a:gd name="connsiteX0" fmla="*/ 0 w 1397238"/>
                <a:gd name="connsiteY0" fmla="*/ 0 h 277978"/>
                <a:gd name="connsiteX1" fmla="*/ 1207008 w 1397238"/>
                <a:gd name="connsiteY1" fmla="*/ 0 h 277978"/>
                <a:gd name="connsiteX2" fmla="*/ 1397204 w 1397238"/>
                <a:gd name="connsiteY2" fmla="*/ 146304 h 277978"/>
                <a:gd name="connsiteX3" fmla="*/ 1199693 w 1397238"/>
                <a:gd name="connsiteY3" fmla="*/ 277978 h 277978"/>
                <a:gd name="connsiteX4" fmla="*/ 0 w 1397238"/>
                <a:gd name="connsiteY4" fmla="*/ 277978 h 277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238" h="277978">
                  <a:moveTo>
                    <a:pt x="0" y="0"/>
                  </a:moveTo>
                  <a:lnTo>
                    <a:pt x="1207008" y="0"/>
                  </a:lnTo>
                  <a:cubicBezTo>
                    <a:pt x="1267969" y="-1"/>
                    <a:pt x="1394766" y="7315"/>
                    <a:pt x="1397204" y="146304"/>
                  </a:cubicBezTo>
                  <a:cubicBezTo>
                    <a:pt x="1399643" y="260909"/>
                    <a:pt x="1270407" y="273101"/>
                    <a:pt x="1199693" y="277978"/>
                  </a:cubicBezTo>
                  <a:lnTo>
                    <a:pt x="0" y="277978"/>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25"/>
            </a:p>
          </p:txBody>
        </p:sp>
        <p:sp>
          <p:nvSpPr>
            <p:cNvPr id="36" name="Freihandform 35"/>
            <p:cNvSpPr/>
            <p:nvPr/>
          </p:nvSpPr>
          <p:spPr>
            <a:xfrm rot="10800000">
              <a:off x="4182085" y="4423045"/>
              <a:ext cx="346024" cy="87784"/>
            </a:xfrm>
            <a:custGeom>
              <a:avLst/>
              <a:gdLst>
                <a:gd name="connsiteX0" fmla="*/ 0 w 1367943"/>
                <a:gd name="connsiteY0" fmla="*/ 0 h 277978"/>
                <a:gd name="connsiteX1" fmla="*/ 1207008 w 1367943"/>
                <a:gd name="connsiteY1" fmla="*/ 0 h 277978"/>
                <a:gd name="connsiteX2" fmla="*/ 1324052 w 1367943"/>
                <a:gd name="connsiteY2" fmla="*/ 58522 h 277978"/>
                <a:gd name="connsiteX3" fmla="*/ 1367943 w 1367943"/>
                <a:gd name="connsiteY3" fmla="*/ 153619 h 277978"/>
                <a:gd name="connsiteX4" fmla="*/ 1309421 w 1367943"/>
                <a:gd name="connsiteY4" fmla="*/ 248717 h 277978"/>
                <a:gd name="connsiteX5" fmla="*/ 1199693 w 1367943"/>
                <a:gd name="connsiteY5" fmla="*/ 277978 h 277978"/>
                <a:gd name="connsiteX6" fmla="*/ 0 w 1367943"/>
                <a:gd name="connsiteY6" fmla="*/ 277978 h 277978"/>
                <a:gd name="connsiteX0" fmla="*/ 0 w 1367943"/>
                <a:gd name="connsiteY0" fmla="*/ 0 h 277978"/>
                <a:gd name="connsiteX1" fmla="*/ 1207008 w 1367943"/>
                <a:gd name="connsiteY1" fmla="*/ 0 h 277978"/>
                <a:gd name="connsiteX2" fmla="*/ 1367943 w 1367943"/>
                <a:gd name="connsiteY2" fmla="*/ 153619 h 277978"/>
                <a:gd name="connsiteX3" fmla="*/ 1309421 w 1367943"/>
                <a:gd name="connsiteY3" fmla="*/ 248717 h 277978"/>
                <a:gd name="connsiteX4" fmla="*/ 1199693 w 1367943"/>
                <a:gd name="connsiteY4" fmla="*/ 277978 h 277978"/>
                <a:gd name="connsiteX5" fmla="*/ 0 w 1367943"/>
                <a:gd name="connsiteY5" fmla="*/ 277978 h 277978"/>
                <a:gd name="connsiteX0" fmla="*/ 0 w 1367943"/>
                <a:gd name="connsiteY0" fmla="*/ 0 h 277978"/>
                <a:gd name="connsiteX1" fmla="*/ 1207008 w 1367943"/>
                <a:gd name="connsiteY1" fmla="*/ 0 h 277978"/>
                <a:gd name="connsiteX2" fmla="*/ 1367943 w 1367943"/>
                <a:gd name="connsiteY2" fmla="*/ 153619 h 277978"/>
                <a:gd name="connsiteX3" fmla="*/ 1199693 w 1367943"/>
                <a:gd name="connsiteY3" fmla="*/ 277978 h 277978"/>
                <a:gd name="connsiteX4" fmla="*/ 0 w 1367943"/>
                <a:gd name="connsiteY4" fmla="*/ 277978 h 277978"/>
                <a:gd name="connsiteX0" fmla="*/ 0 w 1367943"/>
                <a:gd name="connsiteY0" fmla="*/ 0 h 277978"/>
                <a:gd name="connsiteX1" fmla="*/ 1207008 w 1367943"/>
                <a:gd name="connsiteY1" fmla="*/ 0 h 277978"/>
                <a:gd name="connsiteX2" fmla="*/ 1367943 w 1367943"/>
                <a:gd name="connsiteY2" fmla="*/ 153619 h 277978"/>
                <a:gd name="connsiteX3" fmla="*/ 1199693 w 1367943"/>
                <a:gd name="connsiteY3" fmla="*/ 277978 h 277978"/>
                <a:gd name="connsiteX4" fmla="*/ 0 w 1367943"/>
                <a:gd name="connsiteY4" fmla="*/ 277978 h 277978"/>
                <a:gd name="connsiteX0" fmla="*/ 0 w 1367981"/>
                <a:gd name="connsiteY0" fmla="*/ 0 h 277978"/>
                <a:gd name="connsiteX1" fmla="*/ 1207008 w 1367981"/>
                <a:gd name="connsiteY1" fmla="*/ 0 h 277978"/>
                <a:gd name="connsiteX2" fmla="*/ 1367943 w 1367981"/>
                <a:gd name="connsiteY2" fmla="*/ 153619 h 277978"/>
                <a:gd name="connsiteX3" fmla="*/ 1199693 w 1367981"/>
                <a:gd name="connsiteY3" fmla="*/ 277978 h 277978"/>
                <a:gd name="connsiteX4" fmla="*/ 0 w 1367981"/>
                <a:gd name="connsiteY4" fmla="*/ 277978 h 277978"/>
                <a:gd name="connsiteX0" fmla="*/ 0 w 1367986"/>
                <a:gd name="connsiteY0" fmla="*/ 0 h 277978"/>
                <a:gd name="connsiteX1" fmla="*/ 1207008 w 1367986"/>
                <a:gd name="connsiteY1" fmla="*/ 0 h 277978"/>
                <a:gd name="connsiteX2" fmla="*/ 1367943 w 1367986"/>
                <a:gd name="connsiteY2" fmla="*/ 153619 h 277978"/>
                <a:gd name="connsiteX3" fmla="*/ 1199693 w 1367986"/>
                <a:gd name="connsiteY3" fmla="*/ 277978 h 277978"/>
                <a:gd name="connsiteX4" fmla="*/ 0 w 1367986"/>
                <a:gd name="connsiteY4" fmla="*/ 277978 h 277978"/>
                <a:gd name="connsiteX0" fmla="*/ 0 w 1367986"/>
                <a:gd name="connsiteY0" fmla="*/ 0 h 277978"/>
                <a:gd name="connsiteX1" fmla="*/ 1207008 w 1367986"/>
                <a:gd name="connsiteY1" fmla="*/ 0 h 277978"/>
                <a:gd name="connsiteX2" fmla="*/ 1367943 w 1367986"/>
                <a:gd name="connsiteY2" fmla="*/ 153619 h 277978"/>
                <a:gd name="connsiteX3" fmla="*/ 1199693 w 1367986"/>
                <a:gd name="connsiteY3" fmla="*/ 277978 h 277978"/>
                <a:gd name="connsiteX4" fmla="*/ 0 w 1367986"/>
                <a:gd name="connsiteY4" fmla="*/ 277978 h 277978"/>
                <a:gd name="connsiteX0" fmla="*/ 0 w 1397238"/>
                <a:gd name="connsiteY0" fmla="*/ 0 h 277978"/>
                <a:gd name="connsiteX1" fmla="*/ 1207008 w 1397238"/>
                <a:gd name="connsiteY1" fmla="*/ 0 h 277978"/>
                <a:gd name="connsiteX2" fmla="*/ 1397204 w 1397238"/>
                <a:gd name="connsiteY2" fmla="*/ 146304 h 277978"/>
                <a:gd name="connsiteX3" fmla="*/ 1199693 w 1397238"/>
                <a:gd name="connsiteY3" fmla="*/ 277978 h 277978"/>
                <a:gd name="connsiteX4" fmla="*/ 0 w 1397238"/>
                <a:gd name="connsiteY4" fmla="*/ 277978 h 2779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238" h="277978">
                  <a:moveTo>
                    <a:pt x="0" y="0"/>
                  </a:moveTo>
                  <a:lnTo>
                    <a:pt x="1207008" y="0"/>
                  </a:lnTo>
                  <a:cubicBezTo>
                    <a:pt x="1267969" y="-1"/>
                    <a:pt x="1394766" y="7315"/>
                    <a:pt x="1397204" y="146304"/>
                  </a:cubicBezTo>
                  <a:cubicBezTo>
                    <a:pt x="1399643" y="260909"/>
                    <a:pt x="1270407" y="273101"/>
                    <a:pt x="1199693" y="277978"/>
                  </a:cubicBezTo>
                  <a:lnTo>
                    <a:pt x="0" y="277978"/>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25"/>
            </a:p>
          </p:txBody>
        </p:sp>
      </p:grpSp>
      <p:sp>
        <p:nvSpPr>
          <p:cNvPr id="5" name="Foliennummernplatzhalter 4"/>
          <p:cNvSpPr>
            <a:spLocks noGrp="1"/>
          </p:cNvSpPr>
          <p:nvPr>
            <p:ph type="sldNum" sz="quarter" idx="12"/>
          </p:nvPr>
        </p:nvSpPr>
        <p:spPr/>
        <p:txBody>
          <a:bodyPr/>
          <a:lstStyle/>
          <a:p>
            <a:fld id="{4AD1E780-DE1C-4ECA-B5E5-863D0BC53287}" type="slidenum">
              <a:rPr lang="de-DE" smtClean="0"/>
              <a:pPr/>
              <a:t>27</a:t>
            </a:fld>
            <a:endParaRPr lang="de-DE" dirty="0"/>
          </a:p>
        </p:txBody>
      </p:sp>
      <p:sp>
        <p:nvSpPr>
          <p:cNvPr id="9" name="Textplatzhalter 8"/>
          <p:cNvSpPr>
            <a:spLocks noGrp="1"/>
          </p:cNvSpPr>
          <p:nvPr>
            <p:ph type="body" sz="quarter" idx="13"/>
          </p:nvPr>
        </p:nvSpPr>
        <p:spPr/>
        <p:txBody>
          <a:bodyPr/>
          <a:lstStyle/>
          <a:p>
            <a:r>
              <a:rPr lang="en-US" dirty="0"/>
              <a:t>T</a:t>
            </a:r>
            <a:r>
              <a:rPr lang="en-US" dirty="0" smtClean="0"/>
              <a:t>ime to unplug the paywall system</a:t>
            </a:r>
            <a:endParaRPr lang="en-US" dirty="0"/>
          </a:p>
        </p:txBody>
      </p:sp>
      <p:sp>
        <p:nvSpPr>
          <p:cNvPr id="3" name="Inhaltsplatzhalter 2"/>
          <p:cNvSpPr>
            <a:spLocks noGrp="1"/>
          </p:cNvSpPr>
          <p:nvPr>
            <p:ph idx="1"/>
          </p:nvPr>
        </p:nvSpPr>
        <p:spPr>
          <a:xfrm>
            <a:off x="1131228" y="4314832"/>
            <a:ext cx="6921805" cy="461665"/>
          </a:xfrm>
        </p:spPr>
        <p:txBody>
          <a:bodyPr/>
          <a:lstStyle/>
          <a:p>
            <a:r>
              <a:rPr lang="en-US" sz="1500" dirty="0">
                <a:solidFill>
                  <a:schemeClr val="accent2"/>
                </a:solidFill>
              </a:rPr>
              <a:t>In order to foster the development of innovative services that are wanted and needed in the 21</a:t>
            </a:r>
            <a:r>
              <a:rPr lang="en-US" sz="1500" baseline="30000" dirty="0">
                <a:solidFill>
                  <a:schemeClr val="accent2"/>
                </a:solidFill>
              </a:rPr>
              <a:t>st</a:t>
            </a:r>
            <a:r>
              <a:rPr lang="en-US" sz="1500" dirty="0">
                <a:solidFill>
                  <a:schemeClr val="accent2"/>
                </a:solidFill>
              </a:rPr>
              <a:t> century, we must </a:t>
            </a:r>
            <a:r>
              <a:rPr lang="en-US" sz="1500" b="1" dirty="0">
                <a:solidFill>
                  <a:schemeClr val="accent6"/>
                </a:solidFill>
              </a:rPr>
              <a:t>abandon the subscription system</a:t>
            </a:r>
            <a:r>
              <a:rPr lang="en-US" sz="1500" dirty="0">
                <a:solidFill>
                  <a:schemeClr val="accent2"/>
                </a:solidFill>
              </a:rPr>
              <a:t>. </a:t>
            </a:r>
            <a:endParaRPr lang="de-DE" sz="1350" dirty="0">
              <a:solidFill>
                <a:schemeClr val="accent2"/>
              </a:solidFill>
            </a:endParaRPr>
          </a:p>
        </p:txBody>
      </p:sp>
      <p:grpSp>
        <p:nvGrpSpPr>
          <p:cNvPr id="46" name="Gruppieren 45"/>
          <p:cNvGrpSpPr/>
          <p:nvPr/>
        </p:nvGrpSpPr>
        <p:grpSpPr>
          <a:xfrm>
            <a:off x="2432964" y="2180963"/>
            <a:ext cx="1996099" cy="817474"/>
            <a:chOff x="1252537" y="3869738"/>
            <a:chExt cx="2661465" cy="1089965"/>
          </a:xfrm>
        </p:grpSpPr>
        <p:grpSp>
          <p:nvGrpSpPr>
            <p:cNvPr id="29" name="Gruppieren 28"/>
            <p:cNvGrpSpPr/>
            <p:nvPr/>
          </p:nvGrpSpPr>
          <p:grpSpPr>
            <a:xfrm flipV="1">
              <a:off x="2943976" y="3869738"/>
              <a:ext cx="970026" cy="1089965"/>
              <a:chOff x="3558083" y="3774643"/>
              <a:chExt cx="970026" cy="1089965"/>
            </a:xfrm>
          </p:grpSpPr>
          <p:sp>
            <p:nvSpPr>
              <p:cNvPr id="4" name="Rechteck 3"/>
              <p:cNvSpPr/>
              <p:nvPr/>
            </p:nvSpPr>
            <p:spPr>
              <a:xfrm>
                <a:off x="4191610" y="3774643"/>
                <a:ext cx="336499" cy="1089965"/>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sp>
            <p:nvSpPr>
              <p:cNvPr id="6" name="Freihandform 5"/>
              <p:cNvSpPr/>
              <p:nvPr/>
            </p:nvSpPr>
            <p:spPr>
              <a:xfrm>
                <a:off x="3558083" y="3862389"/>
                <a:ext cx="624002" cy="914400"/>
              </a:xfrm>
              <a:custGeom>
                <a:avLst/>
                <a:gdLst>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24282 w 614477"/>
                  <a:gd name="connsiteY7" fmla="*/ 592531 h 746150"/>
                  <a:gd name="connsiteX8" fmla="*/ 475488 w 614477"/>
                  <a:gd name="connsiteY8" fmla="*/ 709574 h 746150"/>
                  <a:gd name="connsiteX9" fmla="*/ 614477 w 614477"/>
                  <a:gd name="connsiteY9"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24282 w 614477"/>
                  <a:gd name="connsiteY7" fmla="*/ 592531 h 746150"/>
                  <a:gd name="connsiteX8" fmla="*/ 475488 w 614477"/>
                  <a:gd name="connsiteY8" fmla="*/ 709574 h 746150"/>
                  <a:gd name="connsiteX9" fmla="*/ 614477 w 614477"/>
                  <a:gd name="connsiteY9"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24282 w 614477"/>
                  <a:gd name="connsiteY7" fmla="*/ 592531 h 746150"/>
                  <a:gd name="connsiteX8" fmla="*/ 470726 w 614477"/>
                  <a:gd name="connsiteY8" fmla="*/ 728624 h 746150"/>
                  <a:gd name="connsiteX9" fmla="*/ 614477 w 614477"/>
                  <a:gd name="connsiteY9"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70726 w 614477"/>
                  <a:gd name="connsiteY7" fmla="*/ 728624 h 746150"/>
                  <a:gd name="connsiteX8" fmla="*/ 614477 w 614477"/>
                  <a:gd name="connsiteY8"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48717 w 614477"/>
                  <a:gd name="connsiteY6" fmla="*/ 475488 h 746150"/>
                  <a:gd name="connsiteX7" fmla="*/ 463583 w 614477"/>
                  <a:gd name="connsiteY7" fmla="*/ 719099 h 746150"/>
                  <a:gd name="connsiteX8" fmla="*/ 614477 w 614477"/>
                  <a:gd name="connsiteY8"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1946 w 614477"/>
                  <a:gd name="connsiteY5" fmla="*/ 475488 h 746150"/>
                  <a:gd name="connsiteX6" fmla="*/ 277292 w 614477"/>
                  <a:gd name="connsiteY6" fmla="*/ 542163 h 746150"/>
                  <a:gd name="connsiteX7" fmla="*/ 463583 w 614477"/>
                  <a:gd name="connsiteY7" fmla="*/ 719099 h 746150"/>
                  <a:gd name="connsiteX8" fmla="*/ 614477 w 614477"/>
                  <a:gd name="connsiteY8" fmla="*/ 746150 h 746150"/>
                  <a:gd name="connsiteX0" fmla="*/ 607162 w 614477"/>
                  <a:gd name="connsiteY0" fmla="*/ 0 h 746150"/>
                  <a:gd name="connsiteX1" fmla="*/ 468173 w 614477"/>
                  <a:gd name="connsiteY1" fmla="*/ 43891 h 746150"/>
                  <a:gd name="connsiteX2" fmla="*/ 277978 w 614477"/>
                  <a:gd name="connsiteY2" fmla="*/ 190195 h 746150"/>
                  <a:gd name="connsiteX3" fmla="*/ 21946 w 614477"/>
                  <a:gd name="connsiteY3" fmla="*/ 212141 h 746150"/>
                  <a:gd name="connsiteX4" fmla="*/ 0 w 614477"/>
                  <a:gd name="connsiteY4" fmla="*/ 329184 h 746150"/>
                  <a:gd name="connsiteX5" fmla="*/ 24327 w 614477"/>
                  <a:gd name="connsiteY5" fmla="*/ 506444 h 746150"/>
                  <a:gd name="connsiteX6" fmla="*/ 277292 w 614477"/>
                  <a:gd name="connsiteY6" fmla="*/ 542163 h 746150"/>
                  <a:gd name="connsiteX7" fmla="*/ 463583 w 614477"/>
                  <a:gd name="connsiteY7" fmla="*/ 719099 h 746150"/>
                  <a:gd name="connsiteX8" fmla="*/ 614477 w 614477"/>
                  <a:gd name="connsiteY8" fmla="*/ 746150 h 746150"/>
                  <a:gd name="connsiteX0" fmla="*/ 621450 w 628765"/>
                  <a:gd name="connsiteY0" fmla="*/ 0 h 746150"/>
                  <a:gd name="connsiteX1" fmla="*/ 482461 w 628765"/>
                  <a:gd name="connsiteY1" fmla="*/ 43891 h 746150"/>
                  <a:gd name="connsiteX2" fmla="*/ 292266 w 628765"/>
                  <a:gd name="connsiteY2" fmla="*/ 190195 h 746150"/>
                  <a:gd name="connsiteX3" fmla="*/ 36234 w 628765"/>
                  <a:gd name="connsiteY3" fmla="*/ 212141 h 746150"/>
                  <a:gd name="connsiteX4" fmla="*/ 0 w 628765"/>
                  <a:gd name="connsiteY4" fmla="*/ 367284 h 746150"/>
                  <a:gd name="connsiteX5" fmla="*/ 38615 w 628765"/>
                  <a:gd name="connsiteY5" fmla="*/ 506444 h 746150"/>
                  <a:gd name="connsiteX6" fmla="*/ 291580 w 628765"/>
                  <a:gd name="connsiteY6" fmla="*/ 542163 h 746150"/>
                  <a:gd name="connsiteX7" fmla="*/ 477871 w 628765"/>
                  <a:gd name="connsiteY7" fmla="*/ 719099 h 746150"/>
                  <a:gd name="connsiteX8" fmla="*/ 628765 w 628765"/>
                  <a:gd name="connsiteY8" fmla="*/ 746150 h 746150"/>
                  <a:gd name="connsiteX0" fmla="*/ 623831 w 631146"/>
                  <a:gd name="connsiteY0" fmla="*/ 0 h 746150"/>
                  <a:gd name="connsiteX1" fmla="*/ 484842 w 631146"/>
                  <a:gd name="connsiteY1" fmla="*/ 43891 h 746150"/>
                  <a:gd name="connsiteX2" fmla="*/ 294647 w 631146"/>
                  <a:gd name="connsiteY2" fmla="*/ 190195 h 746150"/>
                  <a:gd name="connsiteX3" fmla="*/ 38615 w 631146"/>
                  <a:gd name="connsiteY3" fmla="*/ 212141 h 746150"/>
                  <a:gd name="connsiteX4" fmla="*/ 0 w 631146"/>
                  <a:gd name="connsiteY4" fmla="*/ 355378 h 746150"/>
                  <a:gd name="connsiteX5" fmla="*/ 40996 w 631146"/>
                  <a:gd name="connsiteY5" fmla="*/ 506444 h 746150"/>
                  <a:gd name="connsiteX6" fmla="*/ 293961 w 631146"/>
                  <a:gd name="connsiteY6" fmla="*/ 542163 h 746150"/>
                  <a:gd name="connsiteX7" fmla="*/ 480252 w 631146"/>
                  <a:gd name="connsiteY7" fmla="*/ 719099 h 746150"/>
                  <a:gd name="connsiteX8" fmla="*/ 631146 w 631146"/>
                  <a:gd name="connsiteY8" fmla="*/ 746150 h 746150"/>
                  <a:gd name="connsiteX0" fmla="*/ 623831 w 631146"/>
                  <a:gd name="connsiteY0" fmla="*/ 0 h 746150"/>
                  <a:gd name="connsiteX1" fmla="*/ 484842 w 631146"/>
                  <a:gd name="connsiteY1" fmla="*/ 43891 h 746150"/>
                  <a:gd name="connsiteX2" fmla="*/ 294647 w 631146"/>
                  <a:gd name="connsiteY2" fmla="*/ 190195 h 746150"/>
                  <a:gd name="connsiteX3" fmla="*/ 38615 w 631146"/>
                  <a:gd name="connsiteY3" fmla="*/ 212141 h 746150"/>
                  <a:gd name="connsiteX4" fmla="*/ 0 w 631146"/>
                  <a:gd name="connsiteY4" fmla="*/ 355378 h 746150"/>
                  <a:gd name="connsiteX5" fmla="*/ 40996 w 631146"/>
                  <a:gd name="connsiteY5" fmla="*/ 506444 h 746150"/>
                  <a:gd name="connsiteX6" fmla="*/ 293961 w 631146"/>
                  <a:gd name="connsiteY6" fmla="*/ 542163 h 746150"/>
                  <a:gd name="connsiteX7" fmla="*/ 477870 w 631146"/>
                  <a:gd name="connsiteY7" fmla="*/ 702431 h 746150"/>
                  <a:gd name="connsiteX8" fmla="*/ 631146 w 631146"/>
                  <a:gd name="connsiteY8" fmla="*/ 746150 h 746150"/>
                  <a:gd name="connsiteX0" fmla="*/ 623831 w 631146"/>
                  <a:gd name="connsiteY0" fmla="*/ 0 h 717575"/>
                  <a:gd name="connsiteX1" fmla="*/ 484842 w 631146"/>
                  <a:gd name="connsiteY1" fmla="*/ 43891 h 717575"/>
                  <a:gd name="connsiteX2" fmla="*/ 294647 w 631146"/>
                  <a:gd name="connsiteY2" fmla="*/ 190195 h 717575"/>
                  <a:gd name="connsiteX3" fmla="*/ 38615 w 631146"/>
                  <a:gd name="connsiteY3" fmla="*/ 212141 h 717575"/>
                  <a:gd name="connsiteX4" fmla="*/ 0 w 631146"/>
                  <a:gd name="connsiteY4" fmla="*/ 355378 h 717575"/>
                  <a:gd name="connsiteX5" fmla="*/ 40996 w 631146"/>
                  <a:gd name="connsiteY5" fmla="*/ 506444 h 717575"/>
                  <a:gd name="connsiteX6" fmla="*/ 293961 w 631146"/>
                  <a:gd name="connsiteY6" fmla="*/ 542163 h 717575"/>
                  <a:gd name="connsiteX7" fmla="*/ 477870 w 631146"/>
                  <a:gd name="connsiteY7" fmla="*/ 702431 h 717575"/>
                  <a:gd name="connsiteX8" fmla="*/ 631146 w 631146"/>
                  <a:gd name="connsiteY8" fmla="*/ 717575 h 717575"/>
                  <a:gd name="connsiteX0" fmla="*/ 623831 w 624002"/>
                  <a:gd name="connsiteY0" fmla="*/ 0 h 717575"/>
                  <a:gd name="connsiteX1" fmla="*/ 484842 w 624002"/>
                  <a:gd name="connsiteY1" fmla="*/ 4389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77870 w 624002"/>
                  <a:gd name="connsiteY7" fmla="*/ 702431 h 717575"/>
                  <a:gd name="connsiteX8" fmla="*/ 624002 w 624002"/>
                  <a:gd name="connsiteY8" fmla="*/ 717575 h 717575"/>
                  <a:gd name="connsiteX0" fmla="*/ 623831 w 624002"/>
                  <a:gd name="connsiteY0" fmla="*/ 0 h 717575"/>
                  <a:gd name="connsiteX1" fmla="*/ 484842 w 624002"/>
                  <a:gd name="connsiteY1" fmla="*/ 4389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77870 w 624002"/>
                  <a:gd name="connsiteY7" fmla="*/ 702431 h 717575"/>
                  <a:gd name="connsiteX8" fmla="*/ 624002 w 624002"/>
                  <a:gd name="connsiteY8" fmla="*/ 717575 h 717575"/>
                  <a:gd name="connsiteX0" fmla="*/ 623831 w 624002"/>
                  <a:gd name="connsiteY0" fmla="*/ 0 h 717575"/>
                  <a:gd name="connsiteX1" fmla="*/ 484842 w 624002"/>
                  <a:gd name="connsiteY1" fmla="*/ 4389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77870 w 624002"/>
                  <a:gd name="connsiteY7" fmla="*/ 702431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77870 w 624002"/>
                  <a:gd name="connsiteY7" fmla="*/ 702431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55378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62522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62522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 name="connsiteX0" fmla="*/ 623831 w 624002"/>
                  <a:gd name="connsiteY0" fmla="*/ 0 h 717575"/>
                  <a:gd name="connsiteX1" fmla="*/ 439598 w 624002"/>
                  <a:gd name="connsiteY1" fmla="*/ 62941 h 717575"/>
                  <a:gd name="connsiteX2" fmla="*/ 294647 w 624002"/>
                  <a:gd name="connsiteY2" fmla="*/ 190195 h 717575"/>
                  <a:gd name="connsiteX3" fmla="*/ 38615 w 624002"/>
                  <a:gd name="connsiteY3" fmla="*/ 212141 h 717575"/>
                  <a:gd name="connsiteX4" fmla="*/ 0 w 624002"/>
                  <a:gd name="connsiteY4" fmla="*/ 362522 h 717575"/>
                  <a:gd name="connsiteX5" fmla="*/ 40996 w 624002"/>
                  <a:gd name="connsiteY5" fmla="*/ 506444 h 717575"/>
                  <a:gd name="connsiteX6" fmla="*/ 293961 w 624002"/>
                  <a:gd name="connsiteY6" fmla="*/ 542163 h 717575"/>
                  <a:gd name="connsiteX7" fmla="*/ 423101 w 624002"/>
                  <a:gd name="connsiteY7" fmla="*/ 669093 h 717575"/>
                  <a:gd name="connsiteX8" fmla="*/ 624002 w 624002"/>
                  <a:gd name="connsiteY8" fmla="*/ 717575 h 7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002" h="717575">
                    <a:moveTo>
                      <a:pt x="623831" y="0"/>
                    </a:moveTo>
                    <a:cubicBezTo>
                      <a:pt x="572738" y="343"/>
                      <a:pt x="476402" y="24498"/>
                      <a:pt x="439598" y="62941"/>
                    </a:cubicBezTo>
                    <a:cubicBezTo>
                      <a:pt x="391281" y="105359"/>
                      <a:pt x="347727" y="162064"/>
                      <a:pt x="294647" y="190195"/>
                    </a:cubicBezTo>
                    <a:lnTo>
                      <a:pt x="38615" y="212141"/>
                    </a:lnTo>
                    <a:cubicBezTo>
                      <a:pt x="25743" y="259887"/>
                      <a:pt x="3347" y="288582"/>
                      <a:pt x="0" y="362522"/>
                    </a:cubicBezTo>
                    <a:cubicBezTo>
                      <a:pt x="1759" y="424783"/>
                      <a:pt x="27331" y="456089"/>
                      <a:pt x="40996" y="506444"/>
                    </a:cubicBezTo>
                    <a:lnTo>
                      <a:pt x="293961" y="542163"/>
                    </a:lnTo>
                    <a:cubicBezTo>
                      <a:pt x="344152" y="574948"/>
                      <a:pt x="380054" y="626783"/>
                      <a:pt x="423101" y="669093"/>
                    </a:cubicBezTo>
                    <a:cubicBezTo>
                      <a:pt x="455144" y="702716"/>
                      <a:pt x="570529" y="717289"/>
                      <a:pt x="624002" y="717575"/>
                    </a:cubicBezTo>
                  </a:path>
                </a:pathLst>
              </a:cu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125"/>
              </a:p>
            </p:txBody>
          </p:sp>
        </p:grpSp>
        <p:grpSp>
          <p:nvGrpSpPr>
            <p:cNvPr id="45" name="Gruppieren 44"/>
            <p:cNvGrpSpPr/>
            <p:nvPr/>
          </p:nvGrpSpPr>
          <p:grpSpPr>
            <a:xfrm>
              <a:off x="1252537" y="4336256"/>
              <a:ext cx="1695450" cy="134997"/>
              <a:chOff x="1252537" y="4336256"/>
              <a:chExt cx="1695450" cy="134997"/>
            </a:xfrm>
          </p:grpSpPr>
          <p:cxnSp>
            <p:nvCxnSpPr>
              <p:cNvPr id="43" name="Gerade Verbindung 42"/>
              <p:cNvCxnSpPr/>
              <p:nvPr/>
            </p:nvCxnSpPr>
            <p:spPr>
              <a:xfrm>
                <a:off x="1252537" y="4336256"/>
                <a:ext cx="16954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1252537" y="4471253"/>
                <a:ext cx="1695450"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7" name="Gruppieren 6"/>
          <p:cNvGrpSpPr/>
          <p:nvPr/>
        </p:nvGrpSpPr>
        <p:grpSpPr>
          <a:xfrm>
            <a:off x="3274880" y="1381046"/>
            <a:ext cx="2320900" cy="2321766"/>
            <a:chOff x="3252076" y="2108094"/>
            <a:chExt cx="3094534" cy="3095688"/>
          </a:xfrm>
        </p:grpSpPr>
        <p:cxnSp>
          <p:nvCxnSpPr>
            <p:cNvPr id="14" name="Gerade Verbindung 13"/>
            <p:cNvCxnSpPr/>
            <p:nvPr/>
          </p:nvCxnSpPr>
          <p:spPr>
            <a:xfrm rot="5400000" flipH="1">
              <a:off x="3865103" y="3050415"/>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flipH="1">
              <a:off x="4790430" y="2108094"/>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3630141" y="2486159"/>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rot="10800000" flipV="1">
              <a:off x="5120559" y="2486159"/>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H="1" flipV="1">
              <a:off x="5733584" y="3035408"/>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rot="10800000" flipH="1">
              <a:off x="4789207" y="3977729"/>
              <a:ext cx="0" cy="1226053"/>
            </a:xfrm>
            <a:prstGeom prst="line">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a:xfrm rot="10800000">
              <a:off x="5114252" y="3977729"/>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flipV="1">
              <a:off x="3623835" y="3977729"/>
              <a:ext cx="854294" cy="847988"/>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 name="Rechteck 1"/>
          <p:cNvSpPr/>
          <p:nvPr/>
        </p:nvSpPr>
        <p:spPr>
          <a:xfrm>
            <a:off x="3171826" y="1250156"/>
            <a:ext cx="1131042" cy="2571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oAutofit/>
          </a:bodyPr>
          <a:lstStyle/>
          <a:p>
            <a:pPr algn="ctr"/>
            <a:endParaRPr lang="de-DE" sz="900" dirty="0">
              <a:solidFill>
                <a:schemeClr val="tx1"/>
              </a:solidFill>
            </a:endParaRPr>
          </a:p>
        </p:txBody>
      </p:sp>
      <p:pic>
        <p:nvPicPr>
          <p:cNvPr id="26" name="Grafik 25"/>
          <p:cNvPicPr>
            <a:picLocks noChangeAspect="1"/>
          </p:cNvPicPr>
          <p:nvPr/>
        </p:nvPicPr>
        <p:blipFill rotWithShape="1">
          <a:blip r:embed="rId3" cstate="print">
            <a:extLst>
              <a:ext uri="{28A0092B-C50C-407E-A947-70E740481C1C}">
                <a14:useLocalDpi xmlns:a14="http://schemas.microsoft.com/office/drawing/2010/main" val="0"/>
              </a:ext>
            </a:extLst>
          </a:blip>
          <a:srcRect t="43446" r="20420" b="43707"/>
          <a:stretch/>
        </p:blipFill>
        <p:spPr>
          <a:xfrm>
            <a:off x="2900805" y="2426617"/>
            <a:ext cx="3243263" cy="241878"/>
          </a:xfrm>
          <a:prstGeom prst="rect">
            <a:avLst/>
          </a:prstGeom>
        </p:spPr>
      </p:pic>
    </p:spTree>
    <p:extLst>
      <p:ext uri="{BB962C8B-B14F-4D97-AF65-F5344CB8AC3E}">
        <p14:creationId xmlns:p14="http://schemas.microsoft.com/office/powerpoint/2010/main" val="14283943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0016 -1.11111E-6 C -0.06169 0.00394 -0.28958 -0.00185 -0.37163 0.00486 C -0.475 0.01713 -0.57596 0.06088 -0.62099 0.07361 C -0.62868 0.07616 -0.63461 0.0794 -0.64214 0.08195 C -0.65096 0.08495 -0.6625 0.08658 -0.67179 0.08889 C -0.68493 0.0919 -0.67628 0.09167 -0.68365 0.09167 " pathEditMode="relative" rAng="0" ptsTypes="ffffff">
                                      <p:cBhvr>
                                        <p:cTn id="6" dur="2000" fill="hold"/>
                                        <p:tgtEl>
                                          <p:spTgt spid="46"/>
                                        </p:tgtEl>
                                        <p:attrNameLst>
                                          <p:attrName>ppt_x</p:attrName>
                                          <p:attrName>ppt_y</p:attrName>
                                        </p:attrNameLst>
                                      </p:cBhvr>
                                      <p:rCtr x="-34247" y="4491"/>
                                    </p:animMotion>
                                  </p:childTnLst>
                                </p:cTn>
                              </p:par>
                              <p:par>
                                <p:cTn id="7" presetID="8" presetClass="emph" presetSubtype="0" fill="hold" nodeType="withEffect">
                                  <p:stCondLst>
                                    <p:cond delay="200"/>
                                  </p:stCondLst>
                                  <p:childTnLst>
                                    <p:animRot by="-5400000">
                                      <p:cBhvr>
                                        <p:cTn id="8" dur="1600" fill="hold"/>
                                        <p:tgtEl>
                                          <p:spTgt spid="46"/>
                                        </p:tgtEl>
                                        <p:attrNameLst>
                                          <p:attrName>r</p:attrName>
                                        </p:attrNameLst>
                                      </p:cBhvr>
                                    </p:animRot>
                                  </p:childTnLst>
                                </p:cTn>
                              </p:par>
                              <p:par>
                                <p:cTn id="9" presetID="10" presetClass="exit" presetSubtype="0" fill="hold" nodeType="withEffect">
                                  <p:stCondLst>
                                    <p:cond delay="1600"/>
                                  </p:stCondLst>
                                  <p:childTnLst>
                                    <p:animEffect transition="out" filter="fade">
                                      <p:cBhvr>
                                        <p:cTn id="10" dur="500"/>
                                        <p:tgtEl>
                                          <p:spTgt spid="46"/>
                                        </p:tgtEl>
                                      </p:cBhvr>
                                    </p:animEffect>
                                    <p:set>
                                      <p:cBhvr>
                                        <p:cTn id="11" dur="1" fill="hold">
                                          <p:stCondLst>
                                            <p:cond delay="499"/>
                                          </p:stCondLst>
                                        </p:cTn>
                                        <p:tgtEl>
                                          <p:spTgt spid="46"/>
                                        </p:tgtEl>
                                        <p:attrNameLst>
                                          <p:attrName>style.visibility</p:attrName>
                                        </p:attrNameLst>
                                      </p:cBhvr>
                                      <p:to>
                                        <p:strVal val="hidden"/>
                                      </p:to>
                                    </p:set>
                                  </p:childTnLst>
                                </p:cTn>
                              </p:par>
                              <p:par>
                                <p:cTn id="12" presetID="0" presetClass="path" presetSubtype="0" accel="50000" decel="50000" fill="hold" nodeType="withEffect">
                                  <p:stCondLst>
                                    <p:cond delay="0"/>
                                  </p:stCondLst>
                                  <p:childTnLst>
                                    <p:animMotion origin="layout" path="M 2.82051E-6 2.22222E-6 C 0.05128 0.00347 0.26025 0.00046 0.31939 0.00486 C 0.42836 0.02245 0.45256 0.03102 0.50913 0.04791 C 0.56586 0.06481 0.629 0.09421 0.65945 0.10694 C 0.67019 0.11203 0.68397 0.11921 0.69166 0.125 C 0.69535 0.12778 0.69823 0.13055 0.70256 0.13333 C 0.70545 0.13541 0.71346 0.13889 0.71346 0.13912 " pathEditMode="relative" rAng="0" ptsTypes="ffaffff">
                                      <p:cBhvr>
                                        <p:cTn id="13" dur="2000" fill="hold"/>
                                        <p:tgtEl>
                                          <p:spTgt spid="39"/>
                                        </p:tgtEl>
                                        <p:attrNameLst>
                                          <p:attrName>ppt_x</p:attrName>
                                          <p:attrName>ppt_y</p:attrName>
                                        </p:attrNameLst>
                                      </p:cBhvr>
                                      <p:rCtr x="35673" y="6944"/>
                                    </p:animMotion>
                                  </p:childTnLst>
                                </p:cTn>
                              </p:par>
                              <p:par>
                                <p:cTn id="14" presetID="8" presetClass="emph" presetSubtype="0" fill="hold" nodeType="withEffect">
                                  <p:stCondLst>
                                    <p:cond delay="200"/>
                                  </p:stCondLst>
                                  <p:childTnLst>
                                    <p:animRot by="5400000">
                                      <p:cBhvr>
                                        <p:cTn id="15" dur="1500" fill="hold"/>
                                        <p:tgtEl>
                                          <p:spTgt spid="39"/>
                                        </p:tgtEl>
                                        <p:attrNameLst>
                                          <p:attrName>r</p:attrName>
                                        </p:attrNameLst>
                                      </p:cBhvr>
                                    </p:animRot>
                                  </p:childTnLst>
                                </p:cTn>
                              </p:par>
                              <p:par>
                                <p:cTn id="16" presetID="10" presetClass="exit" presetSubtype="0" fill="hold" nodeType="withEffect">
                                  <p:stCondLst>
                                    <p:cond delay="1700"/>
                                  </p:stCondLst>
                                  <p:childTnLst>
                                    <p:animEffect transition="out" filter="fade">
                                      <p:cBhvr>
                                        <p:cTn id="17" dur="500"/>
                                        <p:tgtEl>
                                          <p:spTgt spid="39"/>
                                        </p:tgtEl>
                                      </p:cBhvr>
                                    </p:animEffect>
                                    <p:set>
                                      <p:cBhvr>
                                        <p:cTn id="18" dur="1" fill="hold">
                                          <p:stCondLst>
                                            <p:cond delay="499"/>
                                          </p:stCondLst>
                                        </p:cTn>
                                        <p:tgtEl>
                                          <p:spTgt spid="39"/>
                                        </p:tgtEl>
                                        <p:attrNameLst>
                                          <p:attrName>style.visibility</p:attrName>
                                        </p:attrNameLst>
                                      </p:cBhvr>
                                      <p:to>
                                        <p:strVal val="hidden"/>
                                      </p:to>
                                    </p:set>
                                  </p:childTnLst>
                                </p:cTn>
                              </p:par>
                              <p:par>
                                <p:cTn id="19" presetID="6" presetClass="entr" presetSubtype="32" fill="hold" nodeType="withEffect">
                                  <p:stCondLst>
                                    <p:cond delay="100"/>
                                  </p:stCondLst>
                                  <p:childTnLst>
                                    <p:set>
                                      <p:cBhvr>
                                        <p:cTn id="20" dur="1" fill="hold">
                                          <p:stCondLst>
                                            <p:cond delay="0"/>
                                          </p:stCondLst>
                                        </p:cTn>
                                        <p:tgtEl>
                                          <p:spTgt spid="7"/>
                                        </p:tgtEl>
                                        <p:attrNameLst>
                                          <p:attrName>style.visibility</p:attrName>
                                        </p:attrNameLst>
                                      </p:cBhvr>
                                      <p:to>
                                        <p:strVal val="visible"/>
                                      </p:to>
                                    </p:set>
                                    <p:animEffect transition="in" filter="circle(out)">
                                      <p:cBhvr>
                                        <p:cTn id="21" dur="1700"/>
                                        <p:tgtEl>
                                          <p:spTgt spid="7"/>
                                        </p:tgtEl>
                                      </p:cBhvr>
                                    </p:animEffect>
                                  </p:childTnLst>
                                </p:cTn>
                              </p:par>
                            </p:childTnLst>
                          </p:cTn>
                        </p:par>
                        <p:par>
                          <p:cTn id="22" fill="hold">
                            <p:stCondLst>
                              <p:cond delay="2200"/>
                            </p:stCondLst>
                            <p:childTnLst>
                              <p:par>
                                <p:cTn id="23" presetID="22" presetClass="entr" presetSubtype="8" fill="hold" nodeType="afterEffect">
                                  <p:stCondLst>
                                    <p:cond delay="400"/>
                                  </p:stCondLst>
                                  <p:childTnLst>
                                    <p:set>
                                      <p:cBhvr>
                                        <p:cTn id="24" dur="1" fill="hold">
                                          <p:stCondLst>
                                            <p:cond delay="0"/>
                                          </p:stCondLst>
                                        </p:cTn>
                                        <p:tgtEl>
                                          <p:spTgt spid="26"/>
                                        </p:tgtEl>
                                        <p:attrNameLst>
                                          <p:attrName>style.visibility</p:attrName>
                                        </p:attrNameLst>
                                      </p:cBhvr>
                                      <p:to>
                                        <p:strVal val="visible"/>
                                      </p:to>
                                    </p:set>
                                    <p:animEffect transition="in" filter="wipe(left)">
                                      <p:cBhvr>
                                        <p:cTn id="25" dur="1500"/>
                                        <p:tgtEl>
                                          <p:spTgt spid="26"/>
                                        </p:tgtEl>
                                      </p:cBhvr>
                                    </p:animEffect>
                                  </p:childTnLst>
                                </p:cTn>
                              </p:par>
                              <p:par>
                                <p:cTn id="26" presetID="42" presetClass="path" presetSubtype="0" accel="50000" decel="50000" fill="hold" nodeType="withEffect">
                                  <p:stCondLst>
                                    <p:cond delay="0"/>
                                  </p:stCondLst>
                                  <p:childTnLst>
                                    <p:animMotion origin="layout" path="M -5.12821E-7 -1.85185E-6 L 0.21731 -0.00139 " pathEditMode="relative" rAng="0" ptsTypes="AA">
                                      <p:cBhvr>
                                        <p:cTn id="27" dur="2000" fill="hold"/>
                                        <p:tgtEl>
                                          <p:spTgt spid="7"/>
                                        </p:tgtEl>
                                        <p:attrNameLst>
                                          <p:attrName>ppt_x</p:attrName>
                                          <p:attrName>ppt_y</p:attrName>
                                        </p:attrNameLst>
                                      </p:cBhvr>
                                      <p:rCtr x="10865" y="-69"/>
                                    </p:animMotion>
                                  </p:childTnLst>
                                </p:cTn>
                              </p:par>
                              <p:par>
                                <p:cTn id="28" presetID="22" presetClass="entr" presetSubtype="8" fill="hold" grpId="0" nodeType="withEffect">
                                  <p:stCondLst>
                                    <p:cond delay="0"/>
                                  </p:stCondLst>
                                  <p:childTnLst>
                                    <p:set>
                                      <p:cBhvr>
                                        <p:cTn id="29" dur="1" fill="hold">
                                          <p:stCondLst>
                                            <p:cond delay="0"/>
                                          </p:stCondLst>
                                        </p:cTn>
                                        <p:tgtEl>
                                          <p:spTgt spid="2"/>
                                        </p:tgtEl>
                                        <p:attrNameLst>
                                          <p:attrName>style.visibility</p:attrName>
                                        </p:attrNameLst>
                                      </p:cBhvr>
                                      <p:to>
                                        <p:strVal val="visible"/>
                                      </p:to>
                                    </p:set>
                                    <p:animEffect transition="in" filter="wipe(left)">
                                      <p:cBhvr>
                                        <p:cTn id="30" dur="500"/>
                                        <p:tgtEl>
                                          <p:spTgt spid="2"/>
                                        </p:tgtEl>
                                      </p:cBhvr>
                                    </p:animEffect>
                                  </p:childTnLst>
                                </p:cTn>
                              </p:par>
                              <p:par>
                                <p:cTn id="31" presetID="42" presetClass="path" presetSubtype="0" accel="50000" decel="50000" fill="hold" grpId="1" nodeType="withEffect">
                                  <p:stCondLst>
                                    <p:cond delay="0"/>
                                  </p:stCondLst>
                                  <p:childTnLst>
                                    <p:animMotion origin="layout" path="M -2.5641E-6 -1.11111E-6 L 0.22116 -1.11111E-6 " pathEditMode="relative" rAng="0" ptsTypes="AA">
                                      <p:cBhvr>
                                        <p:cTn id="32" dur="2000" fill="hold"/>
                                        <p:tgtEl>
                                          <p:spTgt spid="2"/>
                                        </p:tgtEl>
                                        <p:attrNameLst>
                                          <p:attrName>ppt_x</p:attrName>
                                          <p:attrName>ppt_y</p:attrName>
                                        </p:attrNameLst>
                                      </p:cBhvr>
                                      <p:rCtr x="11058" y="0"/>
                                    </p:animMotion>
                                  </p:childTnLst>
                                </p:cTn>
                              </p:par>
                            </p:childTnLst>
                          </p:cTn>
                        </p:par>
                        <p:par>
                          <p:cTn id="33" fill="hold">
                            <p:stCondLst>
                              <p:cond delay="4200"/>
                            </p:stCondLst>
                            <p:childTnLst>
                              <p:par>
                                <p:cTn id="34" presetID="10" presetClass="entr" presetSubtype="0" fill="hold" grpId="0" nodeType="after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childTnLst>
                          </p:cTn>
                        </p:par>
                        <p:par>
                          <p:cTn id="37" fill="hold">
                            <p:stCondLst>
                              <p:cond delay="4700"/>
                            </p:stCondLst>
                            <p:childTnLst>
                              <p:par>
                                <p:cTn id="38" presetID="10" presetClass="entr" presetSubtype="0" fill="hold" grpId="0" nodeType="afterEffect">
                                  <p:stCondLst>
                                    <p:cond delay="0"/>
                                  </p:stCondLst>
                                  <p:childTnLst>
                                    <p:set>
                                      <p:cBhvr>
                                        <p:cTn id="39" dur="1" fill="hold">
                                          <p:stCondLst>
                                            <p:cond delay="0"/>
                                          </p:stCondLst>
                                        </p:cTn>
                                        <p:tgtEl>
                                          <p:spTgt spid="3">
                                            <p:txEl>
                                              <p:pRg st="0" end="0"/>
                                            </p:txEl>
                                          </p:spTgt>
                                        </p:tgtEl>
                                        <p:attrNameLst>
                                          <p:attrName>style.visibility</p:attrName>
                                        </p:attrNameLst>
                                      </p:cBhvr>
                                      <p:to>
                                        <p:strVal val="visible"/>
                                      </p:to>
                                    </p:set>
                                    <p:animEffect transition="in" filter="fade">
                                      <p:cBhvr>
                                        <p:cTn id="40" dur="5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 grpId="0" build="p"/>
      <p:bldP spid="2" grpId="0" animBg="1"/>
      <p:bldP spid="2" grpId="1"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AD1E780-DE1C-4ECA-B5E5-863D0BC53287}" type="slidenum">
              <a:rPr lang="de-DE" smtClean="0"/>
              <a:pPr/>
              <a:t>28</a:t>
            </a:fld>
            <a:endParaRPr lang="de-DE" dirty="0"/>
          </a:p>
        </p:txBody>
      </p:sp>
      <p:sp>
        <p:nvSpPr>
          <p:cNvPr id="6" name="Text Placeholder 5"/>
          <p:cNvSpPr>
            <a:spLocks noGrp="1"/>
          </p:cNvSpPr>
          <p:nvPr>
            <p:ph type="body" sz="quarter" idx="13"/>
          </p:nvPr>
        </p:nvSpPr>
        <p:spPr>
          <a:xfrm>
            <a:off x="1377462" y="2053276"/>
            <a:ext cx="6623160" cy="523253"/>
          </a:xfrm>
        </p:spPr>
        <p:txBody>
          <a:bodyPr/>
          <a:lstStyle/>
          <a:p>
            <a:r>
              <a:rPr lang="en-GB" sz="2400" b="1" dirty="0">
                <a:solidFill>
                  <a:schemeClr val="accent2"/>
                </a:solidFill>
              </a:rPr>
              <a:t>Thank you!</a:t>
            </a:r>
            <a:endParaRPr lang="de-DE" sz="2400" b="1" dirty="0">
              <a:solidFill>
                <a:schemeClr val="accent2"/>
              </a:solidFill>
            </a:endParaRPr>
          </a:p>
        </p:txBody>
      </p:sp>
      <p:sp>
        <p:nvSpPr>
          <p:cNvPr id="2" name="TextBox 1"/>
          <p:cNvSpPr txBox="1"/>
          <p:nvPr/>
        </p:nvSpPr>
        <p:spPr>
          <a:xfrm>
            <a:off x="1377461" y="2902627"/>
            <a:ext cx="4613031" cy="1663716"/>
          </a:xfrm>
          <a:prstGeom prst="rect">
            <a:avLst/>
          </a:prstGeom>
          <a:noFill/>
        </p:spPr>
        <p:txBody>
          <a:bodyPr wrap="square" lIns="77907" tIns="38953" rIns="77907" bIns="38953" rtlCol="0">
            <a:spAutoFit/>
          </a:bodyPr>
          <a:lstStyle/>
          <a:p>
            <a:r>
              <a:rPr lang="en-GB" sz="1400" dirty="0" smtClean="0">
                <a:solidFill>
                  <a:schemeClr val="accent2"/>
                </a:solidFill>
              </a:rPr>
              <a:t>Colleen Campbell</a:t>
            </a:r>
          </a:p>
          <a:p>
            <a:r>
              <a:rPr lang="en-GB" sz="1400" dirty="0" smtClean="0">
                <a:solidFill>
                  <a:schemeClr val="accent2"/>
                </a:solidFill>
              </a:rPr>
              <a:t>Open Access 2020 Initiative, Max </a:t>
            </a:r>
            <a:r>
              <a:rPr lang="en-GB" sz="1400" dirty="0">
                <a:solidFill>
                  <a:schemeClr val="accent2"/>
                </a:solidFill>
              </a:rPr>
              <a:t>Planck Digital Library</a:t>
            </a:r>
          </a:p>
          <a:p>
            <a:endParaRPr lang="en-GB" sz="1200" dirty="0">
              <a:solidFill>
                <a:schemeClr val="accent2"/>
              </a:solidFill>
            </a:endParaRPr>
          </a:p>
          <a:p>
            <a:r>
              <a:rPr lang="en-GB" sz="1200" u="sng" dirty="0" smtClean="0">
                <a:solidFill>
                  <a:schemeClr val="accent2"/>
                </a:solidFill>
                <a:hlinkClick r:id="rId2"/>
              </a:rPr>
              <a:t>campbell@mpdl.mpg.de</a:t>
            </a:r>
            <a:endParaRPr lang="en-GB" sz="1200" u="sng" dirty="0">
              <a:solidFill>
                <a:schemeClr val="accent2"/>
              </a:solidFill>
            </a:endParaRPr>
          </a:p>
          <a:p>
            <a:endParaRPr lang="de-DE" sz="1200" dirty="0">
              <a:solidFill>
                <a:schemeClr val="accent2"/>
              </a:solidFill>
            </a:endParaRPr>
          </a:p>
          <a:p>
            <a:r>
              <a:rPr lang="en-GB" sz="1200" u="sng" dirty="0">
                <a:solidFill>
                  <a:schemeClr val="accent2"/>
                </a:solidFill>
                <a:hlinkClick r:id="rId3"/>
              </a:rPr>
              <a:t>https://oa2020.org</a:t>
            </a:r>
            <a:endParaRPr lang="de-DE" sz="1200" dirty="0">
              <a:solidFill>
                <a:schemeClr val="accent2"/>
              </a:solidFill>
            </a:endParaRPr>
          </a:p>
          <a:p>
            <a:r>
              <a:rPr lang="de-DE" sz="1200" dirty="0">
                <a:solidFill>
                  <a:schemeClr val="accent6"/>
                </a:solidFill>
              </a:rPr>
              <a:t>@oa2020ini </a:t>
            </a:r>
            <a:endParaRPr lang="en-US" sz="1200" dirty="0">
              <a:solidFill>
                <a:schemeClr val="accent6"/>
              </a:solidFill>
            </a:endParaRPr>
          </a:p>
          <a:p>
            <a:endParaRPr lang="de-DE" dirty="0"/>
          </a:p>
        </p:txBody>
      </p:sp>
      <p:pic>
        <p:nvPicPr>
          <p:cNvPr id="7" name="Grafik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71469" y="3198656"/>
            <a:ext cx="912124" cy="1595375"/>
          </a:xfrm>
          <a:prstGeom prst="rect">
            <a:avLst/>
          </a:prstGeom>
        </p:spPr>
      </p:pic>
      <p:pic>
        <p:nvPicPr>
          <p:cNvPr id="8" name="Grafik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90492" y="3198656"/>
            <a:ext cx="912124" cy="1595375"/>
          </a:xfrm>
          <a:prstGeom prst="rect">
            <a:avLst/>
          </a:prstGeom>
        </p:spPr>
      </p:pic>
    </p:spTree>
    <p:extLst>
      <p:ext uri="{BB962C8B-B14F-4D97-AF65-F5344CB8AC3E}">
        <p14:creationId xmlns:p14="http://schemas.microsoft.com/office/powerpoint/2010/main" val="42858066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6286500" y="1996433"/>
            <a:ext cx="2857499" cy="253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5" name="Slide Number Placeholder 4"/>
          <p:cNvSpPr>
            <a:spLocks noGrp="1"/>
          </p:cNvSpPr>
          <p:nvPr>
            <p:ph type="sldNum" sz="quarter" idx="12"/>
          </p:nvPr>
        </p:nvSpPr>
        <p:spPr/>
        <p:txBody>
          <a:bodyPr/>
          <a:lstStyle/>
          <a:p>
            <a:fld id="{4AD1E780-DE1C-4ECA-B5E5-863D0BC53287}" type="slidenum">
              <a:rPr lang="de-DE" smtClean="0"/>
              <a:pPr/>
              <a:t>2</a:t>
            </a:fld>
            <a:endParaRPr lang="de-DE" dirty="0"/>
          </a:p>
        </p:txBody>
      </p:sp>
      <p:sp>
        <p:nvSpPr>
          <p:cNvPr id="8" name="Textplatzhalter 17"/>
          <p:cNvSpPr>
            <a:spLocks noGrp="1"/>
          </p:cNvSpPr>
          <p:nvPr>
            <p:ph type="body" sz="quarter" idx="13"/>
          </p:nvPr>
        </p:nvSpPr>
        <p:spPr/>
        <p:txBody>
          <a:bodyPr/>
          <a:lstStyle/>
          <a:p>
            <a:r>
              <a:rPr lang="en-US" dirty="0"/>
              <a:t>Top 20 journals </a:t>
            </a:r>
            <a:r>
              <a:rPr lang="en-US" b="1" dirty="0"/>
              <a:t>worldwide</a:t>
            </a:r>
            <a:r>
              <a:rPr lang="en-US" dirty="0"/>
              <a:t>: </a:t>
            </a:r>
            <a:r>
              <a:rPr lang="en-US" b="1" dirty="0"/>
              <a:t>8 gold OA</a:t>
            </a:r>
            <a:endParaRPr lang="en-US" dirty="0" smtClean="0"/>
          </a:p>
        </p:txBody>
      </p:sp>
      <p:sp>
        <p:nvSpPr>
          <p:cNvPr id="6" name="Rechteck 5"/>
          <p:cNvSpPr/>
          <p:nvPr/>
        </p:nvSpPr>
        <p:spPr>
          <a:xfrm>
            <a:off x="191768" y="928426"/>
            <a:ext cx="7862961" cy="6728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t" anchorCtr="0">
            <a:noAutofit/>
          </a:bodyPr>
          <a:lstStyle/>
          <a:p>
            <a:pPr>
              <a:lnSpc>
                <a:spcPct val="150000"/>
              </a:lnSpc>
            </a:pPr>
            <a:r>
              <a:rPr lang="en-US" sz="1700" b="1" dirty="0">
                <a:solidFill>
                  <a:schemeClr val="tx2"/>
                </a:solidFill>
              </a:rPr>
              <a:t>Number of papers published  in 2016</a:t>
            </a:r>
          </a:p>
          <a:p>
            <a:pPr>
              <a:lnSpc>
                <a:spcPct val="150000"/>
              </a:lnSpc>
            </a:pPr>
            <a:r>
              <a:rPr lang="en-US" sz="1400" dirty="0">
                <a:solidFill>
                  <a:schemeClr val="tx2"/>
                </a:solidFill>
              </a:rPr>
              <a:t>Analysis based on </a:t>
            </a:r>
            <a:r>
              <a:rPr lang="en-US" sz="1400" b="1" i="1" dirty="0">
                <a:solidFill>
                  <a:schemeClr val="accent4"/>
                </a:solidFill>
              </a:rPr>
              <a:t>Web of Science</a:t>
            </a:r>
          </a:p>
        </p:txBody>
      </p:sp>
      <p:sp>
        <p:nvSpPr>
          <p:cNvPr id="11" name="Textfeld 14"/>
          <p:cNvSpPr txBox="1"/>
          <p:nvPr/>
        </p:nvSpPr>
        <p:spPr>
          <a:xfrm>
            <a:off x="6524625" y="2866492"/>
            <a:ext cx="2268493" cy="1586772"/>
          </a:xfrm>
          <a:prstGeom prst="rect">
            <a:avLst/>
          </a:prstGeom>
          <a:noFill/>
          <a:ln w="12700">
            <a:noFill/>
          </a:ln>
        </p:spPr>
        <p:txBody>
          <a:bodyPr wrap="square" lIns="0" tIns="38953" rIns="0" bIns="38953" rtlCol="0">
            <a:spAutoFit/>
          </a:bodyPr>
          <a:lstStyle/>
          <a:p>
            <a:pPr algn="ctr"/>
            <a:endParaRPr lang="en-US" sz="800" dirty="0">
              <a:solidFill>
                <a:schemeClr val="tx2"/>
              </a:solidFill>
            </a:endParaRPr>
          </a:p>
          <a:p>
            <a:r>
              <a:rPr lang="en-US" dirty="0" smtClean="0">
                <a:solidFill>
                  <a:schemeClr val="tx2"/>
                </a:solidFill>
              </a:rPr>
              <a:t>Of the top </a:t>
            </a:r>
            <a:r>
              <a:rPr lang="en-US" dirty="0">
                <a:solidFill>
                  <a:schemeClr val="tx2"/>
                </a:solidFill>
              </a:rPr>
              <a:t>20 journals </a:t>
            </a:r>
            <a:r>
              <a:rPr lang="en-US" dirty="0" smtClean="0">
                <a:solidFill>
                  <a:schemeClr val="tx2"/>
                </a:solidFill>
              </a:rPr>
              <a:t>based on the number of articles published world-wide, </a:t>
            </a:r>
            <a:r>
              <a:rPr lang="en-US" b="1" dirty="0" smtClean="0">
                <a:solidFill>
                  <a:schemeClr val="tx2"/>
                </a:solidFill>
              </a:rPr>
              <a:t>8 are gold OA </a:t>
            </a:r>
            <a:r>
              <a:rPr lang="en-US" dirty="0" smtClean="0">
                <a:solidFill>
                  <a:schemeClr val="tx2"/>
                </a:solidFill>
              </a:rPr>
              <a:t>journals.</a:t>
            </a:r>
          </a:p>
          <a:p>
            <a:endParaRPr lang="en-US" dirty="0">
              <a:solidFill>
                <a:schemeClr val="tx2"/>
              </a:solidFill>
            </a:endParaRPr>
          </a:p>
        </p:txBody>
      </p:sp>
      <p:sp>
        <p:nvSpPr>
          <p:cNvPr id="12" name="Textfeld 11"/>
          <p:cNvSpPr txBox="1"/>
          <p:nvPr/>
        </p:nvSpPr>
        <p:spPr>
          <a:xfrm>
            <a:off x="6537148" y="2126530"/>
            <a:ext cx="2268493" cy="663442"/>
          </a:xfrm>
          <a:prstGeom prst="rect">
            <a:avLst/>
          </a:prstGeom>
          <a:noFill/>
          <a:ln w="12700">
            <a:noFill/>
          </a:ln>
        </p:spPr>
        <p:txBody>
          <a:bodyPr wrap="square" lIns="0" tIns="38953" rIns="0" bIns="38953" rtlCol="0">
            <a:spAutoFit/>
          </a:bodyPr>
          <a:lstStyle/>
          <a:p>
            <a:pPr algn="ctr"/>
            <a:endParaRPr lang="en-US" sz="800" b="1" dirty="0">
              <a:solidFill>
                <a:schemeClr val="accent6"/>
              </a:solidFill>
            </a:endParaRPr>
          </a:p>
          <a:p>
            <a:r>
              <a:rPr lang="en-US" b="1" dirty="0" smtClean="0">
                <a:solidFill>
                  <a:schemeClr val="accent6"/>
                </a:solidFill>
              </a:rPr>
              <a:t>Open access publishing is extremely relevant.</a:t>
            </a:r>
            <a:endParaRPr lang="en-US" b="1" dirty="0">
              <a:solidFill>
                <a:schemeClr val="accent6"/>
              </a:solidFill>
            </a:endParaRPr>
          </a:p>
        </p:txBody>
      </p:sp>
      <p:pic>
        <p:nvPicPr>
          <p:cNvPr id="14" name="Picture 2"/>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235114" y="1710893"/>
            <a:ext cx="5108412" cy="3210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1507741" y="2183680"/>
            <a:ext cx="1644464" cy="201777"/>
          </a:xfrm>
          <a:prstGeom prst="rect">
            <a:avLst/>
          </a:prstGeom>
          <a:noFill/>
        </p:spPr>
        <p:txBody>
          <a:bodyPr wrap="square" lIns="77907" tIns="38953" rIns="77907" bIns="38953" rtlCol="0">
            <a:spAutoFit/>
          </a:bodyPr>
          <a:lstStyle/>
          <a:p>
            <a:r>
              <a:rPr lang="en-US" sz="800" dirty="0"/>
              <a:t>(OA as of 2017)</a:t>
            </a:r>
          </a:p>
        </p:txBody>
      </p:sp>
      <p:cxnSp>
        <p:nvCxnSpPr>
          <p:cNvPr id="15" name="Gerade Verbindung 14"/>
          <p:cNvCxnSpPr/>
          <p:nvPr/>
        </p:nvCxnSpPr>
        <p:spPr>
          <a:xfrm>
            <a:off x="260989" y="1379174"/>
            <a:ext cx="6025511" cy="4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7715249" y="1224621"/>
            <a:ext cx="1011669" cy="263333"/>
          </a:xfrm>
          <a:prstGeom prst="rect">
            <a:avLst/>
          </a:prstGeom>
          <a:noFill/>
          <a:ln>
            <a:noFill/>
          </a:ln>
        </p:spPr>
        <p:txBody>
          <a:bodyPr wrap="square" lIns="77907" tIns="38953" rIns="77907" bIns="38953" rtlCol="0">
            <a:spAutoFit/>
          </a:bodyPr>
          <a:lstStyle/>
          <a:p>
            <a:r>
              <a:rPr lang="en-US" sz="1200" dirty="0">
                <a:solidFill>
                  <a:schemeClr val="tx2"/>
                </a:solidFill>
              </a:rPr>
              <a:t>OA journal</a:t>
            </a:r>
            <a:endParaRPr lang="de-DE" sz="1200" dirty="0">
              <a:solidFill>
                <a:schemeClr val="tx2"/>
              </a:solidFill>
            </a:endParaRPr>
          </a:p>
        </p:txBody>
      </p:sp>
      <p:sp>
        <p:nvSpPr>
          <p:cNvPr id="17" name="Rechteck 16"/>
          <p:cNvSpPr/>
          <p:nvPr/>
        </p:nvSpPr>
        <p:spPr>
          <a:xfrm>
            <a:off x="7472044" y="1304318"/>
            <a:ext cx="243205" cy="114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Tree>
    <p:extLst>
      <p:ext uri="{BB962C8B-B14F-4D97-AF65-F5344CB8AC3E}">
        <p14:creationId xmlns:p14="http://schemas.microsoft.com/office/powerpoint/2010/main" val="20008523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AD1E780-DE1C-4ECA-B5E5-863D0BC53287}" type="slidenum">
              <a:rPr lang="de-DE" smtClean="0"/>
              <a:pPr/>
              <a:t>3</a:t>
            </a:fld>
            <a:endParaRPr lang="de-DE" dirty="0"/>
          </a:p>
        </p:txBody>
      </p:sp>
      <p:sp>
        <p:nvSpPr>
          <p:cNvPr id="8" name="Textplatzhalter 17"/>
          <p:cNvSpPr>
            <a:spLocks noGrp="1"/>
          </p:cNvSpPr>
          <p:nvPr>
            <p:ph type="body" sz="quarter" idx="13"/>
          </p:nvPr>
        </p:nvSpPr>
        <p:spPr/>
        <p:txBody>
          <a:bodyPr/>
          <a:lstStyle/>
          <a:p>
            <a:r>
              <a:rPr lang="en-US" dirty="0"/>
              <a:t>Top 20 </a:t>
            </a:r>
            <a:r>
              <a:rPr lang="en-US" dirty="0" smtClean="0"/>
              <a:t>publishers worldwide: </a:t>
            </a:r>
            <a:br>
              <a:rPr lang="en-US" dirty="0" smtClean="0"/>
            </a:br>
            <a:r>
              <a:rPr lang="en-US" dirty="0" smtClean="0"/>
              <a:t>Total article </a:t>
            </a:r>
            <a:r>
              <a:rPr lang="en-US" dirty="0"/>
              <a:t>and OA Gold output in 2016</a:t>
            </a:r>
            <a:endParaRPr lang="en-US" b="1" dirty="0"/>
          </a:p>
        </p:txBody>
      </p:sp>
      <p:sp>
        <p:nvSpPr>
          <p:cNvPr id="6" name="Rechteck 5"/>
          <p:cNvSpPr/>
          <p:nvPr/>
        </p:nvSpPr>
        <p:spPr>
          <a:xfrm>
            <a:off x="191768" y="928426"/>
            <a:ext cx="7862961" cy="6728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t" anchorCtr="0">
            <a:noAutofit/>
          </a:bodyPr>
          <a:lstStyle/>
          <a:p>
            <a:pPr>
              <a:lnSpc>
                <a:spcPct val="150000"/>
              </a:lnSpc>
            </a:pPr>
            <a:r>
              <a:rPr lang="en-US" sz="1700" b="1" dirty="0">
                <a:solidFill>
                  <a:schemeClr val="tx2"/>
                </a:solidFill>
              </a:rPr>
              <a:t>Number of papers published  in 2016</a:t>
            </a:r>
          </a:p>
          <a:p>
            <a:pPr>
              <a:lnSpc>
                <a:spcPct val="150000"/>
              </a:lnSpc>
            </a:pPr>
            <a:r>
              <a:rPr lang="en-US" sz="1400" dirty="0">
                <a:solidFill>
                  <a:schemeClr val="tx2"/>
                </a:solidFill>
              </a:rPr>
              <a:t>Analysis based on </a:t>
            </a:r>
            <a:r>
              <a:rPr lang="en-US" sz="1400" b="1" i="1" dirty="0">
                <a:solidFill>
                  <a:schemeClr val="accent4"/>
                </a:solidFill>
              </a:rPr>
              <a:t>Web of Science</a:t>
            </a:r>
          </a:p>
        </p:txBody>
      </p:sp>
      <p:graphicFrame>
        <p:nvGraphicFramePr>
          <p:cNvPr id="2" name="Tabelle 1"/>
          <p:cNvGraphicFramePr>
            <a:graphicFrameLocks noGrp="1"/>
          </p:cNvGraphicFramePr>
          <p:nvPr>
            <p:extLst>
              <p:ext uri="{D42A27DB-BD31-4B8C-83A1-F6EECF244321}">
                <p14:modId xmlns:p14="http://schemas.microsoft.com/office/powerpoint/2010/main" val="923871264"/>
              </p:ext>
            </p:extLst>
          </p:nvPr>
        </p:nvGraphicFramePr>
        <p:xfrm>
          <a:off x="260989" y="1743086"/>
          <a:ext cx="5568311" cy="3101288"/>
        </p:xfrm>
        <a:graphic>
          <a:graphicData uri="http://schemas.openxmlformats.org/drawingml/2006/table">
            <a:tbl>
              <a:tblPr>
                <a:tableStyleId>{5C22544A-7EE6-4342-B048-85BDC9FD1C3A}</a:tableStyleId>
              </a:tblPr>
              <a:tblGrid>
                <a:gridCol w="389289">
                  <a:extLst>
                    <a:ext uri="{9D8B030D-6E8A-4147-A177-3AD203B41FA5}">
                      <a16:colId xmlns:a16="http://schemas.microsoft.com/office/drawing/2014/main" xmlns="" val="20000"/>
                    </a:ext>
                  </a:extLst>
                </a:gridCol>
                <a:gridCol w="680122">
                  <a:extLst>
                    <a:ext uri="{9D8B030D-6E8A-4147-A177-3AD203B41FA5}">
                      <a16:colId xmlns:a16="http://schemas.microsoft.com/office/drawing/2014/main" xmlns="" val="20001"/>
                    </a:ext>
                  </a:extLst>
                </a:gridCol>
                <a:gridCol w="979716">
                  <a:extLst>
                    <a:ext uri="{9D8B030D-6E8A-4147-A177-3AD203B41FA5}">
                      <a16:colId xmlns:a16="http://schemas.microsoft.com/office/drawing/2014/main" xmlns="" val="20002"/>
                    </a:ext>
                  </a:extLst>
                </a:gridCol>
                <a:gridCol w="960221">
                  <a:extLst>
                    <a:ext uri="{9D8B030D-6E8A-4147-A177-3AD203B41FA5}">
                      <a16:colId xmlns:a16="http://schemas.microsoft.com/office/drawing/2014/main" xmlns="" val="20003"/>
                    </a:ext>
                  </a:extLst>
                </a:gridCol>
                <a:gridCol w="926101">
                  <a:extLst>
                    <a:ext uri="{9D8B030D-6E8A-4147-A177-3AD203B41FA5}">
                      <a16:colId xmlns:a16="http://schemas.microsoft.com/office/drawing/2014/main" xmlns="" val="20004"/>
                    </a:ext>
                  </a:extLst>
                </a:gridCol>
                <a:gridCol w="804245">
                  <a:extLst>
                    <a:ext uri="{9D8B030D-6E8A-4147-A177-3AD203B41FA5}">
                      <a16:colId xmlns:a16="http://schemas.microsoft.com/office/drawing/2014/main" xmlns="" val="20005"/>
                    </a:ext>
                  </a:extLst>
                </a:gridCol>
                <a:gridCol w="828617">
                  <a:extLst>
                    <a:ext uri="{9D8B030D-6E8A-4147-A177-3AD203B41FA5}">
                      <a16:colId xmlns:a16="http://schemas.microsoft.com/office/drawing/2014/main" xmlns="" val="20006"/>
                    </a:ext>
                  </a:extLst>
                </a:gridCol>
              </a:tblGrid>
              <a:tr h="157732">
                <a:tc>
                  <a:txBody>
                    <a:bodyPr/>
                    <a:lstStyle/>
                    <a:p>
                      <a:pPr marL="0" algn="l" defTabSz="914400" rtl="0" eaLnBrk="1" fontAlgn="b" latinLnBrk="0" hangingPunct="1"/>
                      <a:r>
                        <a:rPr lang="de-DE" sz="600" b="1" u="none" strike="noStrike" kern="1200" dirty="0">
                          <a:solidFill>
                            <a:schemeClr val="dk1"/>
                          </a:solidFill>
                          <a:effectLst/>
                          <a:latin typeface="+mn-lt"/>
                          <a:ea typeface="+mn-ea"/>
                          <a:cs typeface="+mn-cs"/>
                        </a:rPr>
                        <a:t>Rank</a:t>
                      </a:r>
                    </a:p>
                  </a:txBody>
                  <a:tcPr marL="6646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fontAlgn="b" latinLnBrk="0" hangingPunct="1"/>
                      <a:r>
                        <a:rPr lang="en-US" sz="600" b="1" u="none" strike="noStrike" kern="1200" noProof="0" dirty="0" smtClean="0">
                          <a:solidFill>
                            <a:schemeClr val="dk1"/>
                          </a:solidFill>
                          <a:effectLst/>
                          <a:latin typeface="+mn-lt"/>
                          <a:ea typeface="+mn-ea"/>
                          <a:cs typeface="+mn-cs"/>
                        </a:rPr>
                        <a:t>Publisher</a:t>
                      </a:r>
                      <a:endParaRPr lang="en-US" sz="600" b="1" u="none" strike="noStrike" kern="1200" noProof="0" dirty="0">
                        <a:solidFill>
                          <a:schemeClr val="dk1"/>
                        </a:solidFill>
                        <a:effectLst/>
                        <a:latin typeface="+mn-lt"/>
                        <a:ea typeface="+mn-ea"/>
                        <a:cs typeface="+mn-cs"/>
                      </a:endParaRPr>
                    </a:p>
                  </a:txBody>
                  <a:tcPr marL="6646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b="1" u="none" strike="noStrike" noProof="0" dirty="0" smtClean="0">
                          <a:effectLst/>
                        </a:rPr>
                        <a:t>Number of articles 2016</a:t>
                      </a:r>
                      <a:endParaRPr lang="en-US" sz="600" b="1" i="0" u="none" strike="noStrike" noProof="0" dirty="0">
                        <a:solidFill>
                          <a:srgbClr val="000000"/>
                        </a:solidFill>
                        <a:effectLst/>
                        <a:latin typeface="Calibri"/>
                      </a:endParaRPr>
                    </a:p>
                  </a:txBody>
                  <a:tcPr marL="6646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b="1" u="none" strike="noStrike" noProof="0" dirty="0" smtClean="0">
                          <a:effectLst/>
                        </a:rPr>
                        <a:t>Share of publisher 2016</a:t>
                      </a:r>
                      <a:endParaRPr lang="en-US" sz="600" b="1" i="0" u="none" strike="noStrike" noProof="0" dirty="0">
                        <a:solidFill>
                          <a:srgbClr val="000000"/>
                        </a:solidFill>
                        <a:effectLst/>
                        <a:latin typeface="Calibri"/>
                      </a:endParaRPr>
                    </a:p>
                  </a:txBody>
                  <a:tcPr marL="6646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b="1" u="none" strike="noStrike" noProof="0" dirty="0" smtClean="0">
                          <a:effectLst/>
                        </a:rPr>
                        <a:t>Cumulative share 2016</a:t>
                      </a:r>
                      <a:endParaRPr lang="en-US" sz="600" b="1" i="0" u="none" strike="noStrike" noProof="0" dirty="0">
                        <a:solidFill>
                          <a:srgbClr val="000000"/>
                        </a:solidFill>
                        <a:effectLst/>
                        <a:latin typeface="Calibri"/>
                      </a:endParaRPr>
                    </a:p>
                  </a:txBody>
                  <a:tcPr marL="6646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b="1" u="none" strike="noStrike" noProof="0" dirty="0" smtClean="0">
                          <a:effectLst/>
                        </a:rPr>
                        <a:t>Year 2016 OA Gold</a:t>
                      </a:r>
                      <a:endParaRPr lang="en-US" sz="600" b="1" i="0" u="none" strike="noStrike" noProof="0" dirty="0">
                        <a:solidFill>
                          <a:srgbClr val="000000"/>
                        </a:solidFill>
                        <a:effectLst/>
                        <a:latin typeface="Calibri"/>
                      </a:endParaRPr>
                    </a:p>
                  </a:txBody>
                  <a:tcPr marL="6646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b="1" u="none" strike="noStrike" noProof="0" dirty="0" smtClean="0">
                          <a:effectLst/>
                        </a:rPr>
                        <a:t>Share OA Gold 2016</a:t>
                      </a:r>
                      <a:endParaRPr lang="en-US" sz="600" b="1" i="0" u="none" strike="noStrike" noProof="0" dirty="0">
                        <a:solidFill>
                          <a:srgbClr val="000000"/>
                        </a:solidFill>
                        <a:effectLst/>
                        <a:latin typeface="Calibri"/>
                      </a:endParaRPr>
                    </a:p>
                  </a:txBody>
                  <a:tcPr marL="6646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133798">
                <a:tc>
                  <a:txBody>
                    <a:bodyPr/>
                    <a:lstStyle/>
                    <a:p>
                      <a:pPr algn="l" fontAlgn="b"/>
                      <a:r>
                        <a:rPr lang="de-DE" sz="600" u="none" strike="noStrike" dirty="0">
                          <a:effectLst/>
                        </a:rPr>
                        <a:t>1</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Elsevier</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9148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340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4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133798">
                <a:tc>
                  <a:txBody>
                    <a:bodyPr/>
                    <a:lstStyle/>
                    <a:p>
                      <a:pPr algn="l" fontAlgn="b"/>
                      <a:r>
                        <a:rPr lang="de-DE" sz="600" u="none" strike="noStrike" dirty="0">
                          <a:effectLst/>
                        </a:rPr>
                        <a:t>2</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Springer</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85696</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5%</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197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6,45%</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133798">
                <a:tc>
                  <a:txBody>
                    <a:bodyPr/>
                    <a:lstStyle/>
                    <a:p>
                      <a:pPr algn="l" fontAlgn="b"/>
                      <a:r>
                        <a:rPr lang="de-DE" sz="600" u="none" strike="noStrike" dirty="0">
                          <a:effectLst/>
                        </a:rPr>
                        <a:t>3</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Wiley</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4292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6%</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527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6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133798">
                <a:tc>
                  <a:txBody>
                    <a:bodyPr/>
                    <a:lstStyle/>
                    <a:p>
                      <a:pPr algn="l" fontAlgn="b"/>
                      <a:r>
                        <a:rPr lang="de-DE" sz="600" u="none" strike="noStrike" dirty="0">
                          <a:effectLst/>
                        </a:rPr>
                        <a:t>4</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err="1" smtClean="0">
                          <a:effectLst/>
                        </a:rPr>
                        <a:t>Taylor&amp;Francis</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8308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4%</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235</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4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133798">
                <a:tc>
                  <a:txBody>
                    <a:bodyPr/>
                    <a:lstStyle/>
                    <a:p>
                      <a:pPr algn="l" fontAlgn="b"/>
                      <a:r>
                        <a:rPr lang="de-DE" sz="600" u="none" strike="noStrike" dirty="0">
                          <a:effectLst/>
                        </a:rPr>
                        <a:t>5</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ACS</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192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6%</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0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0,24%</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133798">
                <a:tc>
                  <a:txBody>
                    <a:bodyPr/>
                    <a:lstStyle/>
                    <a:p>
                      <a:pPr algn="l" fontAlgn="b"/>
                      <a:r>
                        <a:rPr lang="de-DE" sz="600" u="none" strike="noStrike" dirty="0">
                          <a:effectLst/>
                        </a:rPr>
                        <a:t>6</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RSC</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1796</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843</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0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133798">
                <a:tc>
                  <a:txBody>
                    <a:bodyPr/>
                    <a:lstStyle/>
                    <a:p>
                      <a:pPr algn="l" fontAlgn="b"/>
                      <a:r>
                        <a:rPr lang="de-DE" sz="600" u="none" strike="noStrike" dirty="0">
                          <a:effectLst/>
                        </a:rPr>
                        <a:t>7</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IEEE</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8164</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05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7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r h="133798">
                <a:tc>
                  <a:txBody>
                    <a:bodyPr/>
                    <a:lstStyle/>
                    <a:p>
                      <a:pPr algn="l" fontAlgn="b"/>
                      <a:r>
                        <a:rPr lang="de-DE" sz="600" u="none" strike="noStrike" dirty="0">
                          <a:effectLst/>
                        </a:rPr>
                        <a:t>8</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NPG</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36615</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4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2557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69,85%</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08"/>
                  </a:ext>
                </a:extLst>
              </a:tr>
              <a:tr h="133798">
                <a:tc>
                  <a:txBody>
                    <a:bodyPr/>
                    <a:lstStyle/>
                    <a:p>
                      <a:pPr algn="l" fontAlgn="b"/>
                      <a:r>
                        <a:rPr lang="de-DE" sz="600" u="none" strike="noStrike" dirty="0">
                          <a:effectLst/>
                        </a:rPr>
                        <a:t>9</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OUP</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3427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914</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8,5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09"/>
                  </a:ext>
                </a:extLst>
              </a:tr>
              <a:tr h="133798">
                <a:tc>
                  <a:txBody>
                    <a:bodyPr/>
                    <a:lstStyle/>
                    <a:p>
                      <a:pPr algn="l" fontAlgn="b"/>
                      <a:r>
                        <a:rPr lang="de-DE" sz="600" u="none" strike="noStrike" dirty="0">
                          <a:effectLst/>
                        </a:rPr>
                        <a:t>10</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LWW</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690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3%</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0,0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0"/>
                  </a:ext>
                </a:extLst>
              </a:tr>
              <a:tr h="133798">
                <a:tc>
                  <a:txBody>
                    <a:bodyPr/>
                    <a:lstStyle/>
                    <a:p>
                      <a:pPr algn="l" fontAlgn="b"/>
                      <a:r>
                        <a:rPr lang="de-DE" sz="600" u="none" strike="noStrike" dirty="0">
                          <a:effectLst/>
                        </a:rPr>
                        <a:t>11</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PLOS</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2524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45%</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2524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00,0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11"/>
                  </a:ext>
                </a:extLst>
              </a:tr>
              <a:tr h="133798">
                <a:tc>
                  <a:txBody>
                    <a:bodyPr/>
                    <a:lstStyle/>
                    <a:p>
                      <a:pPr algn="l" fontAlgn="b"/>
                      <a:r>
                        <a:rPr lang="de-DE" sz="600" u="none" strike="noStrike" dirty="0">
                          <a:effectLst/>
                        </a:rPr>
                        <a:t>12</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BMC</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2509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46%</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24944</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99,3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12"/>
                  </a:ext>
                </a:extLst>
              </a:tr>
              <a:tr h="133798">
                <a:tc>
                  <a:txBody>
                    <a:bodyPr/>
                    <a:lstStyle/>
                    <a:p>
                      <a:pPr algn="l" fontAlgn="b"/>
                      <a:r>
                        <a:rPr lang="de-DE" sz="600" u="none" strike="noStrike" dirty="0">
                          <a:effectLst/>
                        </a:rPr>
                        <a:t>13</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Sage</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4423</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5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03%</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3"/>
                  </a:ext>
                </a:extLst>
              </a:tr>
              <a:tr h="133798">
                <a:tc>
                  <a:txBody>
                    <a:bodyPr/>
                    <a:lstStyle/>
                    <a:p>
                      <a:pPr algn="l" fontAlgn="b"/>
                      <a:r>
                        <a:rPr lang="de-DE" sz="600" u="none" strike="noStrike" dirty="0">
                          <a:effectLst/>
                        </a:rPr>
                        <a:t>14</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AIP</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092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504</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7,1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4"/>
                  </a:ext>
                </a:extLst>
              </a:tr>
              <a:tr h="133798">
                <a:tc>
                  <a:txBody>
                    <a:bodyPr/>
                    <a:lstStyle/>
                    <a:p>
                      <a:pPr algn="l" fontAlgn="b"/>
                      <a:r>
                        <a:rPr lang="de-DE" sz="600" u="none" strike="noStrike" dirty="0">
                          <a:effectLst/>
                        </a:rPr>
                        <a:t>15</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IOP</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0834</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13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5,4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5"/>
                  </a:ext>
                </a:extLst>
              </a:tr>
              <a:tr h="133798">
                <a:tc>
                  <a:txBody>
                    <a:bodyPr/>
                    <a:lstStyle/>
                    <a:p>
                      <a:pPr algn="l" fontAlgn="b"/>
                      <a:r>
                        <a:rPr lang="de-DE" sz="600" u="none" strike="noStrike" dirty="0">
                          <a:effectLst/>
                        </a:rPr>
                        <a:t>16</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APS</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8086</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1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2,32%</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6"/>
                  </a:ext>
                </a:extLst>
              </a:tr>
              <a:tr h="133798">
                <a:tc>
                  <a:txBody>
                    <a:bodyPr/>
                    <a:lstStyle/>
                    <a:p>
                      <a:pPr algn="l" fontAlgn="b"/>
                      <a:r>
                        <a:rPr lang="de-DE" sz="600" u="none" strike="noStrike" dirty="0">
                          <a:effectLst/>
                        </a:rPr>
                        <a:t>17</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MDPI</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5683</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5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5683</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00,0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17"/>
                  </a:ext>
                </a:extLst>
              </a:tr>
              <a:tr h="133798">
                <a:tc>
                  <a:txBody>
                    <a:bodyPr/>
                    <a:lstStyle/>
                    <a:p>
                      <a:pPr algn="l" fontAlgn="b"/>
                      <a:r>
                        <a:rPr lang="de-DE" sz="600" u="none" strike="noStrike" dirty="0">
                          <a:effectLst/>
                        </a:rPr>
                        <a:t>18</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CUP</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446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5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57</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0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18"/>
                  </a:ext>
                </a:extLst>
              </a:tr>
              <a:tr h="133798">
                <a:tc>
                  <a:txBody>
                    <a:bodyPr/>
                    <a:lstStyle/>
                    <a:p>
                      <a:pPr algn="l" fontAlgn="b"/>
                      <a:r>
                        <a:rPr lang="de-DE" sz="600" u="none" strike="noStrike" dirty="0">
                          <a:effectLst/>
                        </a:rPr>
                        <a:t>19</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err="1" smtClean="0">
                          <a:effectLst/>
                        </a:rPr>
                        <a:t>Hindawi</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235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5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1158</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90,35%</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19"/>
                  </a:ext>
                </a:extLst>
              </a:tr>
              <a:tr h="133798">
                <a:tc>
                  <a:txBody>
                    <a:bodyPr/>
                    <a:lstStyle/>
                    <a:p>
                      <a:pPr algn="l" fontAlgn="b"/>
                      <a:r>
                        <a:rPr lang="de-DE" sz="600" u="none" strike="noStrike" dirty="0">
                          <a:effectLst/>
                        </a:rPr>
                        <a:t>20</a:t>
                      </a:r>
                      <a:endParaRPr lang="de-DE" sz="600" b="0" i="0" u="none" strike="noStrike" dirty="0">
                        <a:solidFill>
                          <a:srgbClr val="000000"/>
                        </a:solidFill>
                        <a:effectLst/>
                        <a:latin typeface="Calibri"/>
                      </a:endParaRPr>
                    </a:p>
                  </a:txBody>
                  <a:tcPr marL="132923"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Frontiers</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1115</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5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1115</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r" fontAlgn="b"/>
                      <a:r>
                        <a:rPr lang="en-US" sz="600" u="none" strike="noStrike" noProof="0" dirty="0" smtClean="0">
                          <a:effectLst/>
                        </a:rPr>
                        <a:t>100,0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extLst>
                  <a:ext uri="{0D108BD9-81ED-4DB2-BD59-A6C34878D82A}">
                    <a16:rowId xmlns:a16="http://schemas.microsoft.com/office/drawing/2014/main" xmlns="" val="10020"/>
                  </a:ext>
                </a:extLst>
              </a:tr>
              <a:tr h="133798">
                <a:tc>
                  <a:txBody>
                    <a:bodyPr/>
                    <a:lstStyle/>
                    <a:p>
                      <a:pPr algn="l" fontAlgn="b"/>
                      <a:endParaRPr lang="de-DE" sz="600" b="0" i="0" u="none" strike="noStrike" dirty="0">
                        <a:solidFill>
                          <a:srgbClr val="000000"/>
                        </a:solidFill>
                        <a:effectLst/>
                        <a:latin typeface="Calibri"/>
                      </a:endParaRPr>
                    </a:p>
                  </a:txBody>
                  <a:tcPr marL="66462"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600" u="none" strike="noStrike" noProof="0" dirty="0" smtClean="0">
                          <a:effectLst/>
                        </a:rPr>
                        <a:t>Other </a:t>
                      </a:r>
                      <a:endParaRPr lang="en-US" sz="600" b="0" i="0" u="none" strike="noStrike" noProof="0"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141171</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49%</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0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600" u="none" strike="noStrike" noProof="0" dirty="0" smtClean="0">
                          <a:effectLst/>
                        </a:rPr>
                        <a:t>137710</a:t>
                      </a:r>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endParaRPr lang="en-US" sz="600" b="0" i="0" u="none" strike="noStrike" noProof="0"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21"/>
                  </a:ext>
                </a:extLst>
              </a:tr>
              <a:tr h="133798">
                <a:tc>
                  <a:txBody>
                    <a:bodyPr/>
                    <a:lstStyle/>
                    <a:p>
                      <a:pPr algn="l" fontAlgn="b"/>
                      <a:endParaRPr lang="de-DE" sz="600" b="0" i="0" u="none" strike="noStrike" dirty="0">
                        <a:solidFill>
                          <a:srgbClr val="000000"/>
                        </a:solidFill>
                        <a:effectLst/>
                        <a:latin typeface="Calibri"/>
                      </a:endParaRPr>
                    </a:p>
                  </a:txBody>
                  <a:tcPr marL="66462" marR="2564" marT="208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de-DE" sz="600" u="none" strike="noStrike" dirty="0">
                          <a:effectLst/>
                        </a:rPr>
                        <a:t>Total</a:t>
                      </a:r>
                      <a:endParaRPr lang="de-DE" sz="600" b="0" i="0" u="none" strike="noStrike" dirty="0">
                        <a:solidFill>
                          <a:srgbClr val="000000"/>
                        </a:solidFill>
                        <a:effectLst/>
                        <a:latin typeface="Calibri"/>
                      </a:endParaRPr>
                    </a:p>
                  </a:txBody>
                  <a:tcPr marL="99692" marR="2564"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de-DE" sz="600" u="none" strike="noStrike" dirty="0">
                          <a:effectLst/>
                        </a:rPr>
                        <a:t>2352277</a:t>
                      </a:r>
                      <a:endParaRPr lang="de-DE" sz="600" b="0" i="0" u="none" strike="noStrike"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endParaRPr lang="de-DE" sz="600" b="0" i="0" u="none" strike="noStrike">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endParaRPr lang="de-DE" sz="600" b="0" i="0" u="none" strike="noStrike">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de-DE" sz="600" u="none" strike="noStrike" dirty="0">
                          <a:effectLst/>
                        </a:rPr>
                        <a:t>291708</a:t>
                      </a:r>
                      <a:endParaRPr lang="de-DE" sz="600" b="0" i="0" u="none" strike="noStrike"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endParaRPr lang="de-DE" sz="600" b="0" i="0" u="none" strike="noStrike" dirty="0">
                        <a:solidFill>
                          <a:srgbClr val="000000"/>
                        </a:solidFill>
                        <a:effectLst/>
                        <a:latin typeface="Calibri"/>
                      </a:endParaRPr>
                    </a:p>
                  </a:txBody>
                  <a:tcPr marL="66462" marR="265846" marT="2084" marB="2700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xmlns="" val="10022"/>
                  </a:ext>
                </a:extLst>
              </a:tr>
            </a:tbl>
          </a:graphicData>
        </a:graphic>
      </p:graphicFrame>
      <p:cxnSp>
        <p:nvCxnSpPr>
          <p:cNvPr id="13" name="Gerade Verbindung 12"/>
          <p:cNvCxnSpPr/>
          <p:nvPr/>
        </p:nvCxnSpPr>
        <p:spPr>
          <a:xfrm>
            <a:off x="260989" y="1379174"/>
            <a:ext cx="6025511" cy="49"/>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feld 13"/>
          <p:cNvSpPr txBox="1"/>
          <p:nvPr/>
        </p:nvSpPr>
        <p:spPr>
          <a:xfrm>
            <a:off x="7715249" y="1224621"/>
            <a:ext cx="1330070" cy="447999"/>
          </a:xfrm>
          <a:prstGeom prst="rect">
            <a:avLst/>
          </a:prstGeom>
          <a:noFill/>
          <a:ln>
            <a:noFill/>
          </a:ln>
        </p:spPr>
        <p:txBody>
          <a:bodyPr wrap="square" lIns="77907" tIns="38953" rIns="77907" bIns="38953" rtlCol="0">
            <a:spAutoFit/>
          </a:bodyPr>
          <a:lstStyle/>
          <a:p>
            <a:r>
              <a:rPr lang="en-US" sz="1200" dirty="0">
                <a:solidFill>
                  <a:schemeClr val="tx2"/>
                </a:solidFill>
              </a:rPr>
              <a:t>OA </a:t>
            </a:r>
            <a:r>
              <a:rPr lang="en-US" sz="1200" dirty="0" smtClean="0">
                <a:solidFill>
                  <a:schemeClr val="tx2"/>
                </a:solidFill>
              </a:rPr>
              <a:t>dominated publisher</a:t>
            </a:r>
            <a:endParaRPr lang="de-DE" sz="1200" dirty="0">
              <a:solidFill>
                <a:schemeClr val="tx2"/>
              </a:solidFill>
            </a:endParaRPr>
          </a:p>
        </p:txBody>
      </p:sp>
      <p:sp>
        <p:nvSpPr>
          <p:cNvPr id="15" name="Rechteck 14"/>
          <p:cNvSpPr/>
          <p:nvPr/>
        </p:nvSpPr>
        <p:spPr>
          <a:xfrm>
            <a:off x="7472044" y="1304318"/>
            <a:ext cx="243205" cy="114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6" name="Rechteck 15"/>
          <p:cNvSpPr/>
          <p:nvPr/>
        </p:nvSpPr>
        <p:spPr>
          <a:xfrm>
            <a:off x="6286500" y="1996433"/>
            <a:ext cx="2857499" cy="25314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7" name="Textfeld 16"/>
          <p:cNvSpPr txBox="1"/>
          <p:nvPr/>
        </p:nvSpPr>
        <p:spPr>
          <a:xfrm>
            <a:off x="6537148" y="2126530"/>
            <a:ext cx="2268493" cy="1940715"/>
          </a:xfrm>
          <a:prstGeom prst="rect">
            <a:avLst/>
          </a:prstGeom>
          <a:noFill/>
          <a:ln w="12700">
            <a:noFill/>
          </a:ln>
        </p:spPr>
        <p:txBody>
          <a:bodyPr wrap="square" lIns="0" tIns="38953" rIns="0" bIns="38953" rtlCol="0">
            <a:spAutoFit/>
          </a:bodyPr>
          <a:lstStyle/>
          <a:p>
            <a:endParaRPr lang="en-US" sz="1600" b="1" dirty="0">
              <a:solidFill>
                <a:schemeClr val="accent6"/>
              </a:solidFill>
            </a:endParaRPr>
          </a:p>
          <a:p>
            <a:r>
              <a:rPr lang="en-US" dirty="0" smtClean="0">
                <a:solidFill>
                  <a:schemeClr val="tx2"/>
                </a:solidFill>
              </a:rPr>
              <a:t>Open access publishers are among the largest in the world.</a:t>
            </a:r>
            <a:endParaRPr lang="en-US" dirty="0">
              <a:solidFill>
                <a:schemeClr val="tx2"/>
              </a:solidFill>
            </a:endParaRPr>
          </a:p>
          <a:p>
            <a:endParaRPr lang="en-US" dirty="0">
              <a:solidFill>
                <a:schemeClr val="tx2"/>
              </a:solidFill>
            </a:endParaRPr>
          </a:p>
          <a:p>
            <a:r>
              <a:rPr lang="en-US" dirty="0" smtClean="0">
                <a:solidFill>
                  <a:schemeClr val="tx2"/>
                </a:solidFill>
              </a:rPr>
              <a:t>Traditional commercial publishers are increasingly open access publishers.</a:t>
            </a:r>
            <a:endParaRPr lang="en-US" dirty="0">
              <a:solidFill>
                <a:schemeClr val="tx2"/>
              </a:solidFill>
            </a:endParaRPr>
          </a:p>
        </p:txBody>
      </p:sp>
    </p:spTree>
    <p:extLst>
      <p:ext uri="{BB962C8B-B14F-4D97-AF65-F5344CB8AC3E}">
        <p14:creationId xmlns:p14="http://schemas.microsoft.com/office/powerpoint/2010/main" val="14107679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AD1E780-DE1C-4ECA-B5E5-863D0BC53287}" type="slidenum">
              <a:rPr lang="de-DE" smtClean="0"/>
              <a:pPr/>
              <a:t>4</a:t>
            </a:fld>
            <a:endParaRPr lang="de-DE" dirty="0"/>
          </a:p>
        </p:txBody>
      </p:sp>
      <p:sp>
        <p:nvSpPr>
          <p:cNvPr id="6" name="Text Placeholder 5"/>
          <p:cNvSpPr>
            <a:spLocks noGrp="1"/>
          </p:cNvSpPr>
          <p:nvPr>
            <p:ph type="body" sz="quarter" idx="13"/>
          </p:nvPr>
        </p:nvSpPr>
        <p:spPr/>
        <p:txBody>
          <a:bodyPr/>
          <a:lstStyle/>
          <a:p>
            <a:r>
              <a:rPr lang="en-GB" dirty="0" smtClean="0"/>
              <a:t>Measuring the availability of open access – example 1</a:t>
            </a:r>
            <a:endParaRPr lang="de-DE" dirty="0"/>
          </a:p>
        </p:txBody>
      </p:sp>
      <p:sp>
        <p:nvSpPr>
          <p:cNvPr id="7" name="Rechteck 6"/>
          <p:cNvSpPr/>
          <p:nvPr/>
        </p:nvSpPr>
        <p:spPr>
          <a:xfrm>
            <a:off x="284985" y="111727"/>
            <a:ext cx="510069" cy="115416"/>
          </a:xfrm>
          <a:prstGeom prst="rect">
            <a:avLst/>
          </a:prstGeom>
        </p:spPr>
        <p:txBody>
          <a:bodyPr wrap="none" lIns="0" tIns="0" rIns="0" bIns="0">
            <a:noAutofit/>
          </a:bodyPr>
          <a:lstStyle/>
          <a:p>
            <a:r>
              <a:rPr lang="de-DE" sz="700" b="1" dirty="0">
                <a:solidFill>
                  <a:schemeClr val="accent6"/>
                </a:solidFill>
              </a:rPr>
              <a:t>@oa2020ini</a:t>
            </a:r>
          </a:p>
        </p:txBody>
      </p:sp>
      <p:grpSp>
        <p:nvGrpSpPr>
          <p:cNvPr id="4" name="Gruppieren 3"/>
          <p:cNvGrpSpPr/>
          <p:nvPr/>
        </p:nvGrpSpPr>
        <p:grpSpPr>
          <a:xfrm>
            <a:off x="113535" y="984327"/>
            <a:ext cx="8525640" cy="4035348"/>
            <a:chOff x="446567" y="1446029"/>
            <a:chExt cx="10283924" cy="5027703"/>
          </a:xfrm>
        </p:grpSpPr>
        <p:sp>
          <p:nvSpPr>
            <p:cNvPr id="9" name="Rectangle 1"/>
            <p:cNvSpPr/>
            <p:nvPr/>
          </p:nvSpPr>
          <p:spPr>
            <a:xfrm>
              <a:off x="446567" y="1446029"/>
              <a:ext cx="9036789" cy="4465674"/>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17758" y="6143472"/>
              <a:ext cx="2965598" cy="3302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85342" y="6168594"/>
              <a:ext cx="1045149" cy="261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0359468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AD1E780-DE1C-4ECA-B5E5-863D0BC53287}" type="slidenum">
              <a:rPr lang="de-DE" smtClean="0"/>
              <a:pPr/>
              <a:t>5</a:t>
            </a:fld>
            <a:endParaRPr lang="de-DE" dirty="0"/>
          </a:p>
        </p:txBody>
      </p:sp>
      <p:sp>
        <p:nvSpPr>
          <p:cNvPr id="8" name="Text Placeholder 5"/>
          <p:cNvSpPr>
            <a:spLocks noGrp="1"/>
          </p:cNvSpPr>
          <p:nvPr>
            <p:ph type="body" sz="quarter" idx="13"/>
          </p:nvPr>
        </p:nvSpPr>
        <p:spPr>
          <a:xfrm>
            <a:off x="279086" y="319726"/>
            <a:ext cx="6788357" cy="523253"/>
          </a:xfrm>
        </p:spPr>
        <p:txBody>
          <a:bodyPr/>
          <a:lstStyle/>
          <a:p>
            <a:r>
              <a:rPr lang="en-GB" dirty="0"/>
              <a:t>Measuring the availability of open access – example </a:t>
            </a:r>
            <a:r>
              <a:rPr lang="en-GB" dirty="0" smtClean="0"/>
              <a:t>2</a:t>
            </a:r>
            <a:endParaRPr lang="de-DE" dirty="0"/>
          </a:p>
        </p:txBody>
      </p:sp>
      <p:grpSp>
        <p:nvGrpSpPr>
          <p:cNvPr id="2" name="Gruppieren 1"/>
          <p:cNvGrpSpPr/>
          <p:nvPr/>
        </p:nvGrpSpPr>
        <p:grpSpPr>
          <a:xfrm>
            <a:off x="253983" y="1123646"/>
            <a:ext cx="8200270" cy="3690807"/>
            <a:chOff x="377808" y="1365943"/>
            <a:chExt cx="10847421" cy="4882246"/>
          </a:xfrm>
        </p:grpSpPr>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7808" y="1365943"/>
              <a:ext cx="8250378" cy="48822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66306" y="5808760"/>
              <a:ext cx="3358923" cy="4394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8239933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0" y="11825"/>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a:solidFill>
                <a:schemeClr val="tx1"/>
              </a:solidFill>
            </a:endParaRPr>
          </a:p>
        </p:txBody>
      </p:sp>
      <p:sp>
        <p:nvSpPr>
          <p:cNvPr id="14" name="Inhaltsplatzhalter 6"/>
          <p:cNvSpPr txBox="1">
            <a:spLocks/>
          </p:cNvSpPr>
          <p:nvPr>
            <p:custDataLst>
              <p:tags r:id="rId2"/>
            </p:custDataLst>
          </p:nvPr>
        </p:nvSpPr>
        <p:spPr>
          <a:xfrm>
            <a:off x="0" y="2345069"/>
            <a:ext cx="9144000" cy="371475"/>
          </a:xfrm>
          <a:prstGeom prst="rect">
            <a:avLst/>
          </a:prstGeom>
        </p:spPr>
        <p:txBody>
          <a:bodyPr vert="horz" wrap="square" lIns="0" tIns="0" rIns="0" bIns="0" rtlCol="0">
            <a:noAutofit/>
          </a:bodyPr>
          <a:lstStyle>
            <a:lvl1pPr marL="0" indent="0" algn="l" defTabSz="914400" rtl="0" eaLnBrk="1" latinLnBrk="0" hangingPunct="1">
              <a:lnSpc>
                <a:spcPts val="3600"/>
              </a:lnSpc>
              <a:spcBef>
                <a:spcPts val="200"/>
              </a:spcBef>
              <a:buClr>
                <a:schemeClr val="tx2"/>
              </a:buClr>
              <a:buFont typeface="Wingdings" pitchFamily="2" charset="2"/>
              <a:buNone/>
              <a:defRPr sz="2000" kern="1200">
                <a:solidFill>
                  <a:schemeClr val="tx2"/>
                </a:solidFill>
                <a:latin typeface="+mn-lt"/>
                <a:ea typeface="+mn-ea"/>
                <a:cs typeface="+mn-cs"/>
              </a:defRPr>
            </a:lvl1pPr>
            <a:lvl2pPr marL="180975" indent="-180975" algn="l" defTabSz="914400" rtl="0" eaLnBrk="1" latinLnBrk="0" hangingPunct="1">
              <a:lnSpc>
                <a:spcPts val="3600"/>
              </a:lnSpc>
              <a:spcBef>
                <a:spcPts val="200"/>
              </a:spcBef>
              <a:buClr>
                <a:schemeClr val="tx2"/>
              </a:buClr>
              <a:buFont typeface="Wingdings" pitchFamily="2" charset="2"/>
              <a:buChar char="§"/>
              <a:defRPr sz="2000" kern="1200">
                <a:solidFill>
                  <a:schemeClr val="tx2"/>
                </a:solidFill>
                <a:latin typeface="+mn-lt"/>
                <a:ea typeface="+mn-ea"/>
                <a:cs typeface="+mn-cs"/>
              </a:defRPr>
            </a:lvl2pPr>
            <a:lvl3pPr marL="355600" indent="-174625"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3pPr>
            <a:lvl4pPr marL="538163" indent="-182563" algn="l" defTabSz="914400" rtl="0" eaLnBrk="1" latinLnBrk="0" hangingPunct="1">
              <a:lnSpc>
                <a:spcPts val="3600"/>
              </a:lnSpc>
              <a:spcBef>
                <a:spcPts val="200"/>
              </a:spcBef>
              <a:buClr>
                <a:schemeClr val="tx2"/>
              </a:buClr>
              <a:buFont typeface="Arial" pitchFamily="34" charset="0"/>
              <a:buChar char="•"/>
              <a:defRPr sz="2000" kern="1200">
                <a:solidFill>
                  <a:schemeClr val="tx2"/>
                </a:solidFill>
                <a:latin typeface="+mn-lt"/>
                <a:ea typeface="+mn-ea"/>
                <a:cs typeface="+mn-cs"/>
              </a:defRPr>
            </a:lvl4pPr>
            <a:lvl5pPr marL="719138" indent="-180975" algn="l" defTabSz="914400" rtl="0" eaLnBrk="1" latinLnBrk="0" hangingPunct="1">
              <a:lnSpc>
                <a:spcPts val="3600"/>
              </a:lnSpc>
              <a:spcBef>
                <a:spcPts val="200"/>
              </a:spcBef>
              <a:buClr>
                <a:schemeClr val="tx2"/>
              </a:buClr>
              <a:buFont typeface="Symbol" pitchFamily="18" charset="2"/>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US" sz="2400" b="1" dirty="0">
                <a:solidFill>
                  <a:schemeClr val="accent4"/>
                </a:solidFill>
              </a:rPr>
              <a:t>2. Just how open are we really?</a:t>
            </a:r>
          </a:p>
        </p:txBody>
      </p:sp>
      <p:grpSp>
        <p:nvGrpSpPr>
          <p:cNvPr id="18" name="Gruppieren 17"/>
          <p:cNvGrpSpPr/>
          <p:nvPr/>
        </p:nvGrpSpPr>
        <p:grpSpPr>
          <a:xfrm>
            <a:off x="0" y="2271712"/>
            <a:ext cx="9144000" cy="528638"/>
            <a:chOff x="0" y="1600200"/>
            <a:chExt cx="9906000" cy="495300"/>
          </a:xfrm>
        </p:grpSpPr>
        <p:cxnSp>
          <p:nvCxnSpPr>
            <p:cNvPr id="19" name="Gerade Verbindung 18"/>
            <p:cNvCxnSpPr/>
            <p:nvPr/>
          </p:nvCxnSpPr>
          <p:spPr>
            <a:xfrm>
              <a:off x="0" y="16002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0" y="2095500"/>
              <a:ext cx="990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grpSp>
      <p:graphicFrame>
        <p:nvGraphicFramePr>
          <p:cNvPr id="11" name="Objekt 10" hidden="1"/>
          <p:cNvGraphicFramePr>
            <a:graphicFrameLocks/>
          </p:cNvGraphicFramePr>
          <p:nvPr>
            <p:custDataLst>
              <p:tags r:id="rId3"/>
            </p:custDataLst>
            <p:extLst>
              <p:ext uri="{D42A27DB-BD31-4B8C-83A1-F6EECF244321}">
                <p14:modId xmlns:p14="http://schemas.microsoft.com/office/powerpoint/2010/main" val="2961693043"/>
              </p:ext>
            </p:extLst>
          </p:nvPr>
        </p:nvGraphicFramePr>
        <p:xfrm>
          <a:off x="0" y="2"/>
          <a:ext cx="146538" cy="119063"/>
        </p:xfrm>
        <a:graphic>
          <a:graphicData uri="http://schemas.openxmlformats.org/presentationml/2006/ole">
            <mc:AlternateContent xmlns:mc="http://schemas.openxmlformats.org/markup-compatibility/2006">
              <mc:Choice xmlns:v="urn:schemas-microsoft-com:vml" Requires="v">
                <p:oleObj spid="_x0000_s154682" name="think-cell Slide" r:id="rId6" imgW="341" imgH="341" progId="TCLayout.ActiveDocument.1">
                  <p:embed/>
                </p:oleObj>
              </mc:Choice>
              <mc:Fallback>
                <p:oleObj name="think-cell Slide" r:id="rId6" imgW="341" imgH="341" progId="TCLayout.ActiveDocument.1">
                  <p:embed/>
                  <p:pic>
                    <p:nvPicPr>
                      <p:cNvPr id="0" name=""/>
                      <p:cNvPicPr/>
                      <p:nvPr/>
                    </p:nvPicPr>
                    <p:blipFill>
                      <a:blip r:embed="rId7"/>
                      <a:stretch>
                        <a:fillRect/>
                      </a:stretch>
                    </p:blipFill>
                    <p:spPr>
                      <a:xfrm>
                        <a:off x="0" y="2"/>
                        <a:ext cx="146538" cy="119063"/>
                      </a:xfrm>
                      <a:prstGeom prst="rect">
                        <a:avLst/>
                      </a:prstGeom>
                    </p:spPr>
                  </p:pic>
                </p:oleObj>
              </mc:Fallback>
            </mc:AlternateContent>
          </a:graphicData>
        </a:graphic>
      </p:graphicFrame>
      <p:sp>
        <p:nvSpPr>
          <p:cNvPr id="5" name="Foliennummernplatzhalter 4"/>
          <p:cNvSpPr>
            <a:spLocks noGrp="1"/>
          </p:cNvSpPr>
          <p:nvPr>
            <p:ph type="sldNum" sz="quarter" idx="12"/>
            <p:custDataLst>
              <p:tags r:id="rId4"/>
            </p:custDataLst>
          </p:nvPr>
        </p:nvSpPr>
        <p:spPr/>
        <p:txBody>
          <a:bodyPr/>
          <a:lstStyle/>
          <a:p>
            <a:fld id="{4AD1E780-DE1C-4ECA-B5E5-863D0BC53287}" type="slidenum">
              <a:rPr lang="de-DE" smtClean="0"/>
              <a:t>6</a:t>
            </a:fld>
            <a:endParaRPr lang="de-DE"/>
          </a:p>
        </p:txBody>
      </p:sp>
    </p:spTree>
    <p:extLst>
      <p:ext uri="{BB962C8B-B14F-4D97-AF65-F5344CB8AC3E}">
        <p14:creationId xmlns:p14="http://schemas.microsoft.com/office/powerpoint/2010/main" val="34408166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AD1E780-DE1C-4ECA-B5E5-863D0BC53287}" type="slidenum">
              <a:rPr lang="de-DE" smtClean="0"/>
              <a:pPr/>
              <a:t>7</a:t>
            </a:fld>
            <a:endParaRPr lang="de-DE" dirty="0"/>
          </a:p>
        </p:txBody>
      </p:sp>
      <p:grpSp>
        <p:nvGrpSpPr>
          <p:cNvPr id="33" name="Gruppieren 32"/>
          <p:cNvGrpSpPr/>
          <p:nvPr/>
        </p:nvGrpSpPr>
        <p:grpSpPr>
          <a:xfrm flipH="1">
            <a:off x="1194659" y="876343"/>
            <a:ext cx="6660566" cy="4267157"/>
            <a:chOff x="1458426" y="1428292"/>
            <a:chExt cx="6660566" cy="4267157"/>
          </a:xfrm>
        </p:grpSpPr>
        <p:sp>
          <p:nvSpPr>
            <p:cNvPr id="34" name="Bogen 33"/>
            <p:cNvSpPr/>
            <p:nvPr/>
          </p:nvSpPr>
          <p:spPr>
            <a:xfrm rot="17296039">
              <a:off x="2579970" y="1371141"/>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5" name="Bogen 34"/>
            <p:cNvSpPr/>
            <p:nvPr/>
          </p:nvSpPr>
          <p:spPr>
            <a:xfrm rot="14589615">
              <a:off x="1515577" y="3095124"/>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6" name="Bogen 35"/>
            <p:cNvSpPr/>
            <p:nvPr/>
          </p:nvSpPr>
          <p:spPr>
            <a:xfrm rot="2256224">
              <a:off x="5575818" y="2278575"/>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37" name="Gruppieren 36"/>
          <p:cNvGrpSpPr/>
          <p:nvPr/>
        </p:nvGrpSpPr>
        <p:grpSpPr>
          <a:xfrm>
            <a:off x="1286785" y="534397"/>
            <a:ext cx="6452797" cy="5141708"/>
            <a:chOff x="1588652" y="1038721"/>
            <a:chExt cx="6452797" cy="5141708"/>
          </a:xfrm>
        </p:grpSpPr>
        <p:sp>
          <p:nvSpPr>
            <p:cNvPr id="38" name="Bogen 37"/>
            <p:cNvSpPr/>
            <p:nvPr/>
          </p:nvSpPr>
          <p:spPr>
            <a:xfrm rot="17296039">
              <a:off x="2579970" y="1371141"/>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9" name="Bogen 38"/>
            <p:cNvSpPr/>
            <p:nvPr/>
          </p:nvSpPr>
          <p:spPr>
            <a:xfrm rot="9236187">
              <a:off x="1588652" y="3522954"/>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Bogen 39"/>
            <p:cNvSpPr/>
            <p:nvPr/>
          </p:nvSpPr>
          <p:spPr>
            <a:xfrm rot="1367679">
              <a:off x="5498275" y="1038721"/>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41" name="Gruppieren 40"/>
          <p:cNvGrpSpPr/>
          <p:nvPr/>
        </p:nvGrpSpPr>
        <p:grpSpPr>
          <a:xfrm>
            <a:off x="2916275" y="1424486"/>
            <a:ext cx="3161019" cy="3043239"/>
            <a:chOff x="3218142" y="1928810"/>
            <a:chExt cx="3161019" cy="3043239"/>
          </a:xfrm>
        </p:grpSpPr>
        <p:sp>
          <p:nvSpPr>
            <p:cNvPr id="42" name="Bogen 41"/>
            <p:cNvSpPr/>
            <p:nvPr/>
          </p:nvSpPr>
          <p:spPr>
            <a:xfrm>
              <a:off x="3275292" y="2033900"/>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3" name="Bogen 42"/>
            <p:cNvSpPr/>
            <p:nvPr/>
          </p:nvSpPr>
          <p:spPr>
            <a:xfrm rot="16404932">
              <a:off x="3275293" y="2314573"/>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4" name="Bogen 43"/>
            <p:cNvSpPr/>
            <p:nvPr/>
          </p:nvSpPr>
          <p:spPr>
            <a:xfrm rot="12312537">
              <a:off x="3589576" y="2314574"/>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5" name="Bogen 44"/>
            <p:cNvSpPr/>
            <p:nvPr/>
          </p:nvSpPr>
          <p:spPr>
            <a:xfrm rot="8321672">
              <a:off x="3835987" y="2110102"/>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6" name="Bogen 45"/>
            <p:cNvSpPr/>
            <p:nvPr/>
          </p:nvSpPr>
          <p:spPr>
            <a:xfrm rot="4020679">
              <a:off x="3592988" y="1871659"/>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47" name="Gruppieren 46"/>
          <p:cNvGrpSpPr/>
          <p:nvPr/>
        </p:nvGrpSpPr>
        <p:grpSpPr>
          <a:xfrm>
            <a:off x="2021284" y="826188"/>
            <a:ext cx="5006969" cy="4480067"/>
            <a:chOff x="2423462" y="1540045"/>
            <a:chExt cx="5006969" cy="4480067"/>
          </a:xfrm>
        </p:grpSpPr>
        <p:sp>
          <p:nvSpPr>
            <p:cNvPr id="48" name="Bogen 47"/>
            <p:cNvSpPr/>
            <p:nvPr/>
          </p:nvSpPr>
          <p:spPr>
            <a:xfrm rot="20383742">
              <a:off x="4240326" y="1540045"/>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9" name="Bogen 48"/>
            <p:cNvSpPr/>
            <p:nvPr/>
          </p:nvSpPr>
          <p:spPr>
            <a:xfrm rot="14589615">
              <a:off x="2480613" y="2110102"/>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0" name="Bogen 49"/>
            <p:cNvSpPr/>
            <p:nvPr/>
          </p:nvSpPr>
          <p:spPr>
            <a:xfrm rot="8556554">
              <a:off x="2899627" y="3362637"/>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1" name="Bogen 50"/>
            <p:cNvSpPr/>
            <p:nvPr/>
          </p:nvSpPr>
          <p:spPr>
            <a:xfrm rot="4971738">
              <a:off x="4830107" y="2675089"/>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52" name="Rechteck 51"/>
          <p:cNvSpPr/>
          <p:nvPr/>
        </p:nvSpPr>
        <p:spPr>
          <a:xfrm>
            <a:off x="0" y="2"/>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smtClean="0">
              <a:solidFill>
                <a:schemeClr val="tx1"/>
              </a:solidFill>
            </a:endParaRPr>
          </a:p>
        </p:txBody>
      </p:sp>
      <p:sp>
        <p:nvSpPr>
          <p:cNvPr id="53" name="Rechteck 52"/>
          <p:cNvSpPr/>
          <p:nvPr/>
        </p:nvSpPr>
        <p:spPr>
          <a:xfrm>
            <a:off x="284985" y="111727"/>
            <a:ext cx="510069" cy="115416"/>
          </a:xfrm>
          <a:prstGeom prst="rect">
            <a:avLst/>
          </a:prstGeom>
        </p:spPr>
        <p:txBody>
          <a:bodyPr wrap="none" lIns="0" tIns="0" rIns="0" bIns="0">
            <a:noAutofit/>
          </a:bodyPr>
          <a:lstStyle/>
          <a:p>
            <a:r>
              <a:rPr lang="de-DE" sz="700" b="1" i="0" kern="1200" dirty="0" smtClean="0">
                <a:solidFill>
                  <a:schemeClr val="accent6"/>
                </a:solidFill>
                <a:latin typeface="+mn-lt"/>
                <a:ea typeface="+mn-ea"/>
                <a:cs typeface="+mn-cs"/>
              </a:rPr>
              <a:t>@oa2020ini</a:t>
            </a:r>
            <a:endParaRPr lang="de-DE" sz="700" b="1" i="0" dirty="0">
              <a:solidFill>
                <a:schemeClr val="accent6"/>
              </a:solidFill>
            </a:endParaRPr>
          </a:p>
        </p:txBody>
      </p:sp>
      <p:pic>
        <p:nvPicPr>
          <p:cNvPr id="54" name="Grafik 5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181" y="111727"/>
            <a:ext cx="1524159" cy="694461"/>
          </a:xfrm>
          <a:prstGeom prst="rect">
            <a:avLst/>
          </a:prstGeom>
        </p:spPr>
      </p:pic>
      <p:sp>
        <p:nvSpPr>
          <p:cNvPr id="6" name="Text Placeholder 5"/>
          <p:cNvSpPr>
            <a:spLocks noGrp="1"/>
          </p:cNvSpPr>
          <p:nvPr>
            <p:ph type="body" sz="quarter" idx="13"/>
          </p:nvPr>
        </p:nvSpPr>
        <p:spPr/>
        <p:txBody>
          <a:bodyPr/>
          <a:lstStyle/>
          <a:p>
            <a:r>
              <a:rPr lang="en-GB" dirty="0" smtClean="0"/>
              <a:t>The information industry is in a whirlwind of change</a:t>
            </a:r>
            <a:endParaRPr lang="de-DE" dirty="0"/>
          </a:p>
        </p:txBody>
      </p:sp>
    </p:spTree>
    <p:extLst>
      <p:ext uri="{BB962C8B-B14F-4D97-AF65-F5344CB8AC3E}">
        <p14:creationId xmlns:p14="http://schemas.microsoft.com/office/powerpoint/2010/main" val="2977772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700" fill="hold"/>
                                        <p:tgtEl>
                                          <p:spTgt spid="41"/>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2000" fill="hold"/>
                                        <p:tgtEl>
                                          <p:spTgt spid="47"/>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2000" fill="hold"/>
                                        <p:tgtEl>
                                          <p:spTgt spid="37"/>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2000" fill="hold"/>
                                        <p:tgtEl>
                                          <p:spTgt spid="3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4AD1E780-DE1C-4ECA-B5E5-863D0BC53287}" type="slidenum">
              <a:rPr lang="de-DE" smtClean="0"/>
              <a:pPr/>
              <a:t>8</a:t>
            </a:fld>
            <a:endParaRPr lang="de-DE" dirty="0"/>
          </a:p>
        </p:txBody>
      </p:sp>
      <p:grpSp>
        <p:nvGrpSpPr>
          <p:cNvPr id="33" name="Gruppieren 32"/>
          <p:cNvGrpSpPr/>
          <p:nvPr/>
        </p:nvGrpSpPr>
        <p:grpSpPr>
          <a:xfrm flipH="1">
            <a:off x="1182063" y="878930"/>
            <a:ext cx="6660566" cy="4267157"/>
            <a:chOff x="1458426" y="1428292"/>
            <a:chExt cx="6660566" cy="4267157"/>
          </a:xfrm>
        </p:grpSpPr>
        <p:sp>
          <p:nvSpPr>
            <p:cNvPr id="34" name="Bogen 33"/>
            <p:cNvSpPr/>
            <p:nvPr/>
          </p:nvSpPr>
          <p:spPr>
            <a:xfrm rot="17296039">
              <a:off x="2579970" y="1371141"/>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5" name="Bogen 34"/>
            <p:cNvSpPr/>
            <p:nvPr/>
          </p:nvSpPr>
          <p:spPr>
            <a:xfrm rot="14589615">
              <a:off x="1515577" y="3095124"/>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6" name="Bogen 35"/>
            <p:cNvSpPr/>
            <p:nvPr/>
          </p:nvSpPr>
          <p:spPr>
            <a:xfrm rot="2256224">
              <a:off x="5575818" y="2278575"/>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37" name="Gruppieren 36"/>
          <p:cNvGrpSpPr/>
          <p:nvPr/>
        </p:nvGrpSpPr>
        <p:grpSpPr>
          <a:xfrm>
            <a:off x="1274189" y="536984"/>
            <a:ext cx="6452797" cy="5141708"/>
            <a:chOff x="1588652" y="1038721"/>
            <a:chExt cx="6452797" cy="5141708"/>
          </a:xfrm>
        </p:grpSpPr>
        <p:sp>
          <p:nvSpPr>
            <p:cNvPr id="38" name="Bogen 37"/>
            <p:cNvSpPr/>
            <p:nvPr/>
          </p:nvSpPr>
          <p:spPr>
            <a:xfrm rot="17296039">
              <a:off x="2579970" y="1371141"/>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39" name="Bogen 38"/>
            <p:cNvSpPr/>
            <p:nvPr/>
          </p:nvSpPr>
          <p:spPr>
            <a:xfrm rot="9236187">
              <a:off x="1588652" y="3522954"/>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0" name="Bogen 39"/>
            <p:cNvSpPr/>
            <p:nvPr/>
          </p:nvSpPr>
          <p:spPr>
            <a:xfrm rot="1367679">
              <a:off x="5498275" y="1038721"/>
              <a:ext cx="2543174" cy="2657475"/>
            </a:xfrm>
            <a:prstGeom prst="arc">
              <a:avLst/>
            </a:prstGeom>
            <a:ln w="19050">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41" name="Gruppieren 40"/>
          <p:cNvGrpSpPr/>
          <p:nvPr/>
        </p:nvGrpSpPr>
        <p:grpSpPr>
          <a:xfrm>
            <a:off x="2903679" y="1427073"/>
            <a:ext cx="3161019" cy="3043239"/>
            <a:chOff x="3218142" y="1928810"/>
            <a:chExt cx="3161019" cy="3043239"/>
          </a:xfrm>
        </p:grpSpPr>
        <p:sp>
          <p:nvSpPr>
            <p:cNvPr id="42" name="Bogen 41"/>
            <p:cNvSpPr/>
            <p:nvPr/>
          </p:nvSpPr>
          <p:spPr>
            <a:xfrm>
              <a:off x="3275292" y="2033900"/>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3" name="Bogen 42"/>
            <p:cNvSpPr/>
            <p:nvPr/>
          </p:nvSpPr>
          <p:spPr>
            <a:xfrm rot="16404932">
              <a:off x="3275293" y="2314573"/>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4" name="Bogen 43"/>
            <p:cNvSpPr/>
            <p:nvPr/>
          </p:nvSpPr>
          <p:spPr>
            <a:xfrm rot="12312537">
              <a:off x="3589576" y="2314574"/>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5" name="Bogen 44"/>
            <p:cNvSpPr/>
            <p:nvPr/>
          </p:nvSpPr>
          <p:spPr>
            <a:xfrm rot="8321672">
              <a:off x="3835987" y="2110102"/>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6" name="Bogen 45"/>
            <p:cNvSpPr/>
            <p:nvPr/>
          </p:nvSpPr>
          <p:spPr>
            <a:xfrm rot="4020679">
              <a:off x="3592988" y="1871659"/>
              <a:ext cx="2543174" cy="2657475"/>
            </a:xfrm>
            <a:prstGeom prst="arc">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grpSp>
        <p:nvGrpSpPr>
          <p:cNvPr id="47" name="Gruppieren 46"/>
          <p:cNvGrpSpPr/>
          <p:nvPr/>
        </p:nvGrpSpPr>
        <p:grpSpPr>
          <a:xfrm>
            <a:off x="2008688" y="828775"/>
            <a:ext cx="5006969" cy="4480067"/>
            <a:chOff x="2423462" y="1540045"/>
            <a:chExt cx="5006969" cy="4480067"/>
          </a:xfrm>
        </p:grpSpPr>
        <p:sp>
          <p:nvSpPr>
            <p:cNvPr id="48" name="Bogen 47"/>
            <p:cNvSpPr/>
            <p:nvPr/>
          </p:nvSpPr>
          <p:spPr>
            <a:xfrm rot="20383742">
              <a:off x="4240326" y="1540045"/>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49" name="Bogen 48"/>
            <p:cNvSpPr/>
            <p:nvPr/>
          </p:nvSpPr>
          <p:spPr>
            <a:xfrm rot="14589615">
              <a:off x="2480613" y="2110102"/>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0" name="Bogen 49"/>
            <p:cNvSpPr/>
            <p:nvPr/>
          </p:nvSpPr>
          <p:spPr>
            <a:xfrm rot="8556554">
              <a:off x="2899627" y="3362637"/>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1" name="Bogen 50"/>
            <p:cNvSpPr/>
            <p:nvPr/>
          </p:nvSpPr>
          <p:spPr>
            <a:xfrm rot="4971738">
              <a:off x="4830107" y="2675089"/>
              <a:ext cx="2543174" cy="2657475"/>
            </a:xfrm>
            <a:prstGeom prst="arc">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sp>
        <p:nvSpPr>
          <p:cNvPr id="52" name="Ellipse 51"/>
          <p:cNvSpPr/>
          <p:nvPr/>
        </p:nvSpPr>
        <p:spPr>
          <a:xfrm>
            <a:off x="3329653" y="1837147"/>
            <a:ext cx="2243952" cy="223872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smtClean="0">
              <a:solidFill>
                <a:schemeClr val="tx1"/>
              </a:solidFill>
            </a:endParaRPr>
          </a:p>
        </p:txBody>
      </p:sp>
      <p:sp>
        <p:nvSpPr>
          <p:cNvPr id="27" name="Rechteck 26"/>
          <p:cNvSpPr/>
          <p:nvPr/>
        </p:nvSpPr>
        <p:spPr>
          <a:xfrm>
            <a:off x="0" y="2"/>
            <a:ext cx="9144000" cy="9001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1344" tIns="61344" rIns="61344" bIns="61344" rtlCol="0" anchor="ctr">
            <a:noAutofit/>
          </a:bodyPr>
          <a:lstStyle/>
          <a:p>
            <a:pPr algn="ctr"/>
            <a:endParaRPr lang="de-DE" sz="1000" dirty="0" smtClean="0">
              <a:solidFill>
                <a:schemeClr val="tx1"/>
              </a:solidFill>
            </a:endParaRPr>
          </a:p>
        </p:txBody>
      </p:sp>
      <p:sp>
        <p:nvSpPr>
          <p:cNvPr id="31" name="Rechteck 30"/>
          <p:cNvSpPr/>
          <p:nvPr/>
        </p:nvSpPr>
        <p:spPr>
          <a:xfrm>
            <a:off x="284985" y="111727"/>
            <a:ext cx="510069" cy="115416"/>
          </a:xfrm>
          <a:prstGeom prst="rect">
            <a:avLst/>
          </a:prstGeom>
        </p:spPr>
        <p:txBody>
          <a:bodyPr wrap="none" lIns="0" tIns="0" rIns="0" bIns="0">
            <a:noAutofit/>
          </a:bodyPr>
          <a:lstStyle/>
          <a:p>
            <a:r>
              <a:rPr lang="de-DE" sz="700" b="1" i="0" kern="1200" dirty="0" smtClean="0">
                <a:solidFill>
                  <a:schemeClr val="accent6"/>
                </a:solidFill>
                <a:latin typeface="+mn-lt"/>
                <a:ea typeface="+mn-ea"/>
                <a:cs typeface="+mn-cs"/>
              </a:rPr>
              <a:t>@oa2020ini</a:t>
            </a:r>
            <a:endParaRPr lang="de-DE" sz="700" b="1" i="0" dirty="0">
              <a:solidFill>
                <a:schemeClr val="accent6"/>
              </a:solidFill>
            </a:endParaRPr>
          </a:p>
        </p:txBody>
      </p:sp>
      <p:pic>
        <p:nvPicPr>
          <p:cNvPr id="32" name="Grafik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7181" y="111727"/>
            <a:ext cx="1524159" cy="694461"/>
          </a:xfrm>
          <a:prstGeom prst="rect">
            <a:avLst/>
          </a:prstGeom>
        </p:spPr>
      </p:pic>
      <p:sp>
        <p:nvSpPr>
          <p:cNvPr id="6" name="Text Placeholder 5"/>
          <p:cNvSpPr>
            <a:spLocks noGrp="1"/>
          </p:cNvSpPr>
          <p:nvPr>
            <p:ph type="body" sz="quarter" idx="13"/>
          </p:nvPr>
        </p:nvSpPr>
        <p:spPr>
          <a:xfrm>
            <a:off x="266487" y="319726"/>
            <a:ext cx="6623160" cy="523253"/>
          </a:xfrm>
        </p:spPr>
        <p:txBody>
          <a:bodyPr/>
          <a:lstStyle/>
          <a:p>
            <a:r>
              <a:rPr lang="en-US" dirty="0" smtClean="0"/>
              <a:t>But there is inertia in the eye of the storm</a:t>
            </a:r>
            <a:endParaRPr lang="en-US" dirty="0"/>
          </a:p>
        </p:txBody>
      </p:sp>
    </p:spTree>
    <p:extLst>
      <p:ext uri="{BB962C8B-B14F-4D97-AF65-F5344CB8AC3E}">
        <p14:creationId xmlns:p14="http://schemas.microsoft.com/office/powerpoint/2010/main" val="641580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3000" fill="hold" nodeType="withEffect">
                                  <p:stCondLst>
                                    <p:cond delay="0"/>
                                  </p:stCondLst>
                                  <p:childTnLst>
                                    <p:animRot by="21600000">
                                      <p:cBhvr>
                                        <p:cTn id="6" dur="3600" fill="hold"/>
                                        <p:tgtEl>
                                          <p:spTgt spid="41"/>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3400" fill="hold"/>
                                        <p:tgtEl>
                                          <p:spTgt spid="47"/>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3233" fill="hold"/>
                                        <p:tgtEl>
                                          <p:spTgt spid="37"/>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3100" fill="hold"/>
                                        <p:tgtEl>
                                          <p:spTgt spid="33"/>
                                        </p:tgtEl>
                                        <p:attrNameLst>
                                          <p:attrName>r</p:attrName>
                                        </p:attrNameLst>
                                      </p:cBhvr>
                                    </p:animRot>
                                  </p:childTnLst>
                                </p:cTn>
                              </p:par>
                              <p:par>
                                <p:cTn id="13" presetID="10" presetClass="entr" presetSubtype="0" fill="hold" grpId="0" nodeType="withEffect">
                                  <p:stCondLst>
                                    <p:cond delay="7000"/>
                                  </p:stCondLst>
                                  <p:childTnLst>
                                    <p:set>
                                      <p:cBhvr>
                                        <p:cTn id="14" dur="1" fill="hold">
                                          <p:stCondLst>
                                            <p:cond delay="0"/>
                                          </p:stCondLst>
                                        </p:cTn>
                                        <p:tgtEl>
                                          <p:spTgt spid="52"/>
                                        </p:tgtEl>
                                        <p:attrNameLst>
                                          <p:attrName>style.visibility</p:attrName>
                                        </p:attrNameLst>
                                      </p:cBhvr>
                                      <p:to>
                                        <p:strVal val="visible"/>
                                      </p:to>
                                    </p:set>
                                    <p:animEffect transition="in" filter="fade">
                                      <p:cBhvr>
                                        <p:cTn id="15" dur="3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5&quot;&gt;&lt;elem m_fUsage=&quot;3.90530403910000070000E+000&quot;&gt;&lt;m_msothmcolidx val=&quot;0&quot;/&gt;&lt;m_rgb r=&quot;7d&quot; g=&quot;aa&quot; b=&quot;ed&quot;/&gt;&lt;m_ppcolschidx tagver0=&quot;23004&quot; tagname0=&quot;m_ppcolschidxUNRECOGNIZED&quot; val=&quot;0&quot;/&gt;&lt;m_nBrightness val=&quot;0&quot;/&gt;&lt;/elem&gt;&lt;elem m_fUsage=&quot;9.69910596090000190000E-001&quot;&gt;&lt;m_msothmcolidx val=&quot;0&quot;/&gt;&lt;m_rgb r=&quot;84&quot; g=&quot;9f&quot; b=&quot;c2&quot;/&gt;&lt;m_ppcolschidx tagver0=&quot;23004&quot; tagname0=&quot;m_ppcolschidxUNRECOGNIZED&quot; val=&quot;0&quot;/&gt;&lt;m_nBrightness val=&quot;0&quot;/&gt;&lt;/elem&gt;&lt;elem m_fUsage=&quot;9.00000000000000020000E-001&quot;&gt;&lt;m_msothmcolidx val=&quot;0&quot;/&gt;&lt;m_rgb r=&quot;de&quot; g=&quot;e5&quot; b=&quot;ee&quot;/&gt;&lt;m_ppcolschidx tagver0=&quot;23004&quot; tagname0=&quot;m_ppcolschidxUNRECOGNIZED&quot; val=&quot;0&quot;/&gt;&lt;m_nBrightness val=&quot;0&quot;/&gt;&lt;/elem&gt;&lt;elem m_fUsage=&quot;8.10000000000000050000E-001&quot;&gt;&lt;m_msothmcolidx val=&quot;0&quot;/&gt;&lt;m_rgb r=&quot;be&quot; g=&quot;d4&quot; b=&quot;f6&quot;/&gt;&lt;m_ppcolschidx tagver0=&quot;23004&quot; tagname0=&quot;m_ppcolschidxUNRECOGNIZED&quot; val=&quot;0&quot;/&gt;&lt;m_nBrightness val=&quot;0&quot;/&gt;&lt;/elem&gt;&lt;elem m_fUsage=&quot;5.90490000000000180000E-001&quot;&gt;&lt;m_msothmcolidx val=&quot;0&quot;/&gt;&lt;m_rgb r=&quot;0&quot; g=&quot;66&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MUeKZMcOUC1SoZ_YdlsU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MUeKZMcOUC1SoZ_YdlsU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zm_zCOo7kyON9WbNsTP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heme/theme1.xml><?xml version="1.0" encoding="utf-8"?>
<a:theme xmlns:a="http://schemas.openxmlformats.org/drawingml/2006/main" name="MPDL PPT Template (Leerpräsentation) 20120307">
  <a:themeElements>
    <a:clrScheme name="Benutzerdefiniert 4">
      <a:dk1>
        <a:sysClr val="windowText" lastClr="000000"/>
      </a:dk1>
      <a:lt1>
        <a:srgbClr val="FFFFFF"/>
      </a:lt1>
      <a:dk2>
        <a:srgbClr val="606060"/>
      </a:dk2>
      <a:lt2>
        <a:srgbClr val="F2F2F2"/>
      </a:lt2>
      <a:accent1>
        <a:srgbClr val="C0C0C0"/>
      </a:accent1>
      <a:accent2>
        <a:srgbClr val="7F7F7F"/>
      </a:accent2>
      <a:accent3>
        <a:srgbClr val="FFC865"/>
      </a:accent3>
      <a:accent4>
        <a:srgbClr val="F29A00"/>
      </a:accent4>
      <a:accent5>
        <a:srgbClr val="EF7E5F"/>
      </a:accent5>
      <a:accent6>
        <a:srgbClr val="DB3F16"/>
      </a:accent6>
      <a:hlink>
        <a:srgbClr val="DB3F16"/>
      </a:hlink>
      <a:folHlink>
        <a:srgbClr val="7C7C7C"/>
      </a:folHlink>
    </a:clrScheme>
    <a:fontScheme name="Benutzerdefiniert 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72000" tIns="72000" rIns="72000" bIns="72000" rtlCol="0" anchor="ctr">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PDL PPT Template (Leerpräsentation) 20120307</Template>
  <TotalTime>0</TotalTime>
  <Words>1414</Words>
  <Application>Microsoft Office PowerPoint</Application>
  <PresentationFormat>Экран (16:9)</PresentationFormat>
  <Paragraphs>376</Paragraphs>
  <Slides>29</Slides>
  <Notes>26</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29</vt:i4>
      </vt:variant>
    </vt:vector>
  </HeadingPairs>
  <TitlesOfParts>
    <vt:vector size="32" baseType="lpstr">
      <vt:lpstr>MPDL PPT Template (Leerpräsentation) 20120307</vt:lpstr>
      <vt:lpstr>think-cell Folie</vt:lpstr>
      <vt:lpstr>think-cell Slide</vt:lpstr>
      <vt:lpstr>Unlocking research, unleashing opportunity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open are we</dc:title>
  <dc:subject>Mandate for our money</dc:subject>
  <dc:creator/>
  <cp:lastModifiedBy/>
  <cp:revision>1</cp:revision>
  <cp:lastPrinted>2013-01-22T15:34:55Z</cp:lastPrinted>
  <dcterms:created xsi:type="dcterms:W3CDTF">2013-01-22T07:58:38Z</dcterms:created>
  <dcterms:modified xsi:type="dcterms:W3CDTF">2018-04-22T08:24:36Z</dcterms:modified>
</cp:coreProperties>
</file>